
<file path=[Content_Types].xml><?xml version="1.0" encoding="utf-8"?>
<Types xmlns="http://schemas.openxmlformats.org/package/2006/content-types">
  <Default Extension="png" ContentType="image/png"/>
  <Default Extension="tmp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20" r:id="rId2"/>
    <p:sldId id="604" r:id="rId3"/>
    <p:sldId id="262" r:id="rId4"/>
    <p:sldId id="576" r:id="rId5"/>
    <p:sldId id="580" r:id="rId6"/>
    <p:sldId id="587" r:id="rId7"/>
    <p:sldId id="589" r:id="rId8"/>
    <p:sldId id="588" r:id="rId9"/>
    <p:sldId id="590" r:id="rId10"/>
    <p:sldId id="591" r:id="rId11"/>
    <p:sldId id="592" r:id="rId12"/>
    <p:sldId id="593" r:id="rId13"/>
    <p:sldId id="594" r:id="rId14"/>
    <p:sldId id="597" r:id="rId15"/>
    <p:sldId id="595" r:id="rId16"/>
    <p:sldId id="600" r:id="rId17"/>
    <p:sldId id="598" r:id="rId18"/>
    <p:sldId id="596" r:id="rId19"/>
    <p:sldId id="601" r:id="rId20"/>
    <p:sldId id="602" r:id="rId21"/>
    <p:sldId id="568" r:id="rId22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Lato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Lato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Lato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Lato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Lato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Lato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Lato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Lato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Lato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08">
          <p15:clr>
            <a:srgbClr val="A4A3A4"/>
          </p15:clr>
        </p15:guide>
        <p15:guide id="4" orient="horz" pos="3888">
          <p15:clr>
            <a:srgbClr val="A4A3A4"/>
          </p15:clr>
        </p15:guide>
        <p15:guide id="5" pos="384">
          <p15:clr>
            <a:srgbClr val="A4A3A4"/>
          </p15:clr>
        </p15:guide>
        <p15:guide id="6" pos="7296">
          <p15:clr>
            <a:srgbClr val="A4A3A4"/>
          </p15:clr>
        </p15:guide>
        <p15:guide id="7" pos="552">
          <p15:clr>
            <a:srgbClr val="A4A3A4"/>
          </p15:clr>
        </p15:guide>
        <p15:guide id="8" pos="7128">
          <p15:clr>
            <a:srgbClr val="A4A3A4"/>
          </p15:clr>
        </p15:guide>
        <p15:guide id="9" orient="horz" pos="3312">
          <p15:clr>
            <a:srgbClr val="A4A3A4"/>
          </p15:clr>
        </p15:guide>
        <p15:guide id="10" orient="horz" pos="4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entt32" initials="k" lastIdx="4" clrIdx="0">
    <p:extLst>
      <p:ext uri="{19B8F6BF-5375-455C-9EA6-DF929625EA0E}">
        <p15:presenceInfo xmlns:p15="http://schemas.microsoft.com/office/powerpoint/2012/main" userId="S-1-5-21-1978076751-3396122582-1341001408-1499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092C"/>
    <a:srgbClr val="339966"/>
    <a:srgbClr val="FF9900"/>
    <a:srgbClr val="FF9933"/>
    <a:srgbClr val="FFCC00"/>
    <a:srgbClr val="04908D"/>
    <a:srgbClr val="FF2626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0882" autoAdjust="0"/>
  </p:normalViewPr>
  <p:slideViewPr>
    <p:cSldViewPr snapToGrid="0">
      <p:cViewPr varScale="1">
        <p:scale>
          <a:sx n="87" d="100"/>
          <a:sy n="87" d="100"/>
        </p:scale>
        <p:origin x="612" y="90"/>
      </p:cViewPr>
      <p:guideLst>
        <p:guide orient="horz" pos="2160"/>
        <p:guide pos="3840"/>
        <p:guide orient="horz" pos="1008"/>
        <p:guide orient="horz" pos="3888"/>
        <p:guide pos="384"/>
        <p:guide pos="7296"/>
        <p:guide pos="552"/>
        <p:guide pos="7128"/>
        <p:guide orient="horz" pos="3312"/>
        <p:guide orient="horz" pos="4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382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90E81-4887-4F6A-8E10-DE4D91CA9B5F}" type="datetimeFigureOut">
              <a:rPr lang="en-US" smtClean="0"/>
              <a:t>12/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2A877-9BDC-4F25-BCCB-C91210D5A6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6492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C0E6C44-05B4-48F1-942E-0649089046AD}" type="datetimeFigureOut">
              <a:rPr lang="en-US"/>
              <a:pPr>
                <a:defRPr/>
              </a:pPr>
              <a:t>12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8BD621-9FC3-431A-897B-5A42A3637E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4166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3271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6783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6626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8559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861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097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690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103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885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982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01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570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004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8BD621-9FC3-431A-897B-5A42A3637ED3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516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463145"/>
            <a:ext cx="1080506" cy="394855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1080506" y="6463145"/>
            <a:ext cx="11111494" cy="39485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18000">
                <a:schemeClr val="accent5">
                  <a:lumMod val="0"/>
                  <a:lumOff val="100000"/>
                </a:schemeClr>
              </a:gs>
              <a:gs pos="100000">
                <a:srgbClr val="E3092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200" dirty="0" err="1">
                <a:latin typeface="Abel" panose="02000506030000020004" pitchFamily="2" charset="0"/>
              </a:rPr>
              <a:t>Viettel</a:t>
            </a:r>
            <a:r>
              <a:rPr lang="en-US" sz="1200" baseline="0" dirty="0">
                <a:latin typeface="Abel" panose="02000506030000020004" pitchFamily="2" charset="0"/>
              </a:rPr>
              <a:t> Data Analytics Center</a:t>
            </a:r>
            <a:endParaRPr lang="vi-VN" sz="120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68891" y="6500330"/>
            <a:ext cx="1302327" cy="29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37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27895" y="16002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2401882" y="1600200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527895" y="3470119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401882" y="3470119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26518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3790" y="53160"/>
            <a:ext cx="5665204" cy="337584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782160" y="53160"/>
            <a:ext cx="2309218" cy="337584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8144544" y="53160"/>
            <a:ext cx="3996656" cy="337584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129512" y="3482160"/>
            <a:ext cx="2599481" cy="329078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3788" y="3482160"/>
            <a:ext cx="2998389" cy="329078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36979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351438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94638" y="3429000"/>
            <a:ext cx="6097362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211655" y="4751918"/>
            <a:ext cx="1024128" cy="102412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24304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76300" y="1152569"/>
            <a:ext cx="3794760" cy="23774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76300" y="3709878"/>
            <a:ext cx="3794760" cy="23774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75959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1115863" y="3426874"/>
            <a:ext cx="2468880" cy="15087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3607560" y="3426874"/>
            <a:ext cx="2468880" cy="15087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6109447" y="3426874"/>
            <a:ext cx="2468880" cy="15087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8601144" y="3426874"/>
            <a:ext cx="2468880" cy="15087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05070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039818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355744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5679082" y="4812516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7995933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0307227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46028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ular &amp; Bo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039818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3355744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5679082" y="4812516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7995933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0307227" y="4831389"/>
            <a:ext cx="841248" cy="8412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3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003242" y="2416778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4" name="Picture Placeholder 15"/>
          <p:cNvSpPr>
            <a:spLocks noGrp="1"/>
          </p:cNvSpPr>
          <p:nvPr>
            <p:ph type="pic" sz="quarter" idx="16"/>
          </p:nvPr>
        </p:nvSpPr>
        <p:spPr>
          <a:xfrm>
            <a:off x="3319168" y="2416778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15"/>
          <p:cNvSpPr>
            <a:spLocks noGrp="1"/>
          </p:cNvSpPr>
          <p:nvPr>
            <p:ph type="pic" sz="quarter" idx="17"/>
          </p:nvPr>
        </p:nvSpPr>
        <p:spPr>
          <a:xfrm>
            <a:off x="5642506" y="2416177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8"/>
          </p:nvPr>
        </p:nvSpPr>
        <p:spPr>
          <a:xfrm>
            <a:off x="7958432" y="2416177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9"/>
          </p:nvPr>
        </p:nvSpPr>
        <p:spPr>
          <a:xfrm>
            <a:off x="10281770" y="2416177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0555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89103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Image'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2136447" y="1457325"/>
            <a:ext cx="2032000" cy="13922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081665" y="1457325"/>
            <a:ext cx="2032000" cy="13922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8026883" y="1457325"/>
            <a:ext cx="2032000" cy="13922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199947" y="2971800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3184197" y="2971800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145165" y="2971800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129415" y="2971800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8090383" y="2971800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074633" y="2971800"/>
            <a:ext cx="914400" cy="9144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8001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671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 userDrawn="1"/>
        </p:nvSpPr>
        <p:spPr>
          <a:xfrm>
            <a:off x="5089525" y="617538"/>
            <a:ext cx="2012950" cy="201295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5181600" y="709613"/>
            <a:ext cx="1828800" cy="18288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555633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749778" y="1670756"/>
            <a:ext cx="2494844" cy="33302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366255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9027130" y="1972901"/>
            <a:ext cx="2031471" cy="3548642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98420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103770" y="1677295"/>
            <a:ext cx="4424616" cy="4424614"/>
          </a:xfrm>
          <a:prstGeom prst="ellipse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4290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039662" y="2048125"/>
            <a:ext cx="2263149" cy="3332951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40013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763713" y="2095499"/>
            <a:ext cx="4073525" cy="25320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7247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6"/>
          <p:cNvSpPr>
            <a:spLocks noEditPoints="1"/>
          </p:cNvSpPr>
          <p:nvPr userDrawn="1"/>
        </p:nvSpPr>
        <p:spPr bwMode="auto">
          <a:xfrm>
            <a:off x="871538" y="1927225"/>
            <a:ext cx="2959100" cy="3840163"/>
          </a:xfrm>
          <a:custGeom>
            <a:avLst/>
            <a:gdLst>
              <a:gd name="T0" fmla="*/ 2147483646 w 580"/>
              <a:gd name="T1" fmla="*/ 2147483646 h 753"/>
              <a:gd name="T2" fmla="*/ 2147483646 w 580"/>
              <a:gd name="T3" fmla="*/ 0 h 753"/>
              <a:gd name="T4" fmla="*/ 2147483646 w 580"/>
              <a:gd name="T5" fmla="*/ 0 h 753"/>
              <a:gd name="T6" fmla="*/ 0 w 580"/>
              <a:gd name="T7" fmla="*/ 2147483646 h 753"/>
              <a:gd name="T8" fmla="*/ 0 w 580"/>
              <a:gd name="T9" fmla="*/ 2147483646 h 753"/>
              <a:gd name="T10" fmla="*/ 2147483646 w 580"/>
              <a:gd name="T11" fmla="*/ 2147483646 h 753"/>
              <a:gd name="T12" fmla="*/ 2147483646 w 580"/>
              <a:gd name="T13" fmla="*/ 2147483646 h 753"/>
              <a:gd name="T14" fmla="*/ 2147483646 w 580"/>
              <a:gd name="T15" fmla="*/ 2147483646 h 753"/>
              <a:gd name="T16" fmla="*/ 2147483646 w 580"/>
              <a:gd name="T17" fmla="*/ 2147483646 h 753"/>
              <a:gd name="T18" fmla="*/ 2147483646 w 580"/>
              <a:gd name="T19" fmla="*/ 2147483646 h 753"/>
              <a:gd name="T20" fmla="*/ 2147483646 w 580"/>
              <a:gd name="T21" fmla="*/ 2147483646 h 753"/>
              <a:gd name="T22" fmla="*/ 2147483646 w 580"/>
              <a:gd name="T23" fmla="*/ 2147483646 h 753"/>
              <a:gd name="T24" fmla="*/ 2147483646 w 580"/>
              <a:gd name="T25" fmla="*/ 2147483646 h 753"/>
              <a:gd name="T26" fmla="*/ 2147483646 w 580"/>
              <a:gd name="T27" fmla="*/ 2147483646 h 75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80" h="753">
                <a:moveTo>
                  <a:pt x="580" y="31"/>
                </a:moveTo>
                <a:cubicBezTo>
                  <a:pt x="580" y="14"/>
                  <a:pt x="566" y="0"/>
                  <a:pt x="550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4"/>
                  <a:pt x="0" y="31"/>
                </a:cubicBezTo>
                <a:cubicBezTo>
                  <a:pt x="0" y="723"/>
                  <a:pt x="0" y="723"/>
                  <a:pt x="0" y="723"/>
                </a:cubicBezTo>
                <a:cubicBezTo>
                  <a:pt x="0" y="740"/>
                  <a:pt x="13" y="753"/>
                  <a:pt x="30" y="753"/>
                </a:cubicBezTo>
                <a:cubicBezTo>
                  <a:pt x="550" y="753"/>
                  <a:pt x="550" y="753"/>
                  <a:pt x="550" y="753"/>
                </a:cubicBezTo>
                <a:cubicBezTo>
                  <a:pt x="566" y="753"/>
                  <a:pt x="580" y="740"/>
                  <a:pt x="580" y="723"/>
                </a:cubicBezTo>
                <a:lnTo>
                  <a:pt x="580" y="31"/>
                </a:lnTo>
                <a:close/>
                <a:moveTo>
                  <a:pt x="520" y="689"/>
                </a:moveTo>
                <a:cubicBezTo>
                  <a:pt x="57" y="689"/>
                  <a:pt x="57" y="689"/>
                  <a:pt x="57" y="689"/>
                </a:cubicBezTo>
                <a:cubicBezTo>
                  <a:pt x="57" y="66"/>
                  <a:pt x="57" y="66"/>
                  <a:pt x="57" y="66"/>
                </a:cubicBezTo>
                <a:cubicBezTo>
                  <a:pt x="520" y="66"/>
                  <a:pt x="520" y="66"/>
                  <a:pt x="520" y="66"/>
                </a:cubicBezTo>
                <a:lnTo>
                  <a:pt x="520" y="689"/>
                </a:ln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Rectangle 68"/>
          <p:cNvSpPr>
            <a:spLocks noChangeArrowheads="1"/>
          </p:cNvSpPr>
          <p:nvPr userDrawn="1"/>
        </p:nvSpPr>
        <p:spPr bwMode="auto">
          <a:xfrm>
            <a:off x="1068388" y="2205038"/>
            <a:ext cx="2565400" cy="327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068489" y="2205781"/>
            <a:ext cx="2565906" cy="3271566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3201352" y="3350572"/>
            <a:ext cx="1402519" cy="20627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5974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904371"/>
            <a:ext cx="543560" cy="38331"/>
            <a:chOff x="3244850" y="3002280"/>
            <a:chExt cx="1752600" cy="152400"/>
          </a:xfrm>
          <a:solidFill>
            <a:schemeClr val="accent3"/>
          </a:solidFill>
        </p:grpSpPr>
        <p:sp>
          <p:nvSpPr>
            <p:cNvPr id="6" name="Rectangle 5"/>
            <p:cNvSpPr/>
            <p:nvPr/>
          </p:nvSpPr>
          <p:spPr>
            <a:xfrm>
              <a:off x="4121150" y="3002280"/>
              <a:ext cx="876300" cy="1524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244850" y="3002280"/>
              <a:ext cx="876300" cy="152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5340" y="687548"/>
            <a:ext cx="10538460" cy="508179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3600" b="1">
                <a:solidFill>
                  <a:schemeClr val="accent1"/>
                </a:solidFill>
                <a:latin typeface="Lato (Body)"/>
                <a:ea typeface="Lato (Body)"/>
                <a:cs typeface="Lato (Body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838200" y="417563"/>
            <a:ext cx="10515600" cy="1523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cap="all" spc="250" baseline="0">
                <a:solidFill>
                  <a:schemeClr val="tx2"/>
                </a:solidFill>
                <a:latin typeface="Lato (Body)"/>
                <a:ea typeface="Lato (Body)"/>
                <a:cs typeface="Lato (Body)"/>
              </a:defRPr>
            </a:lvl1pPr>
            <a:lvl2pPr marL="4572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838200" y="1251718"/>
            <a:ext cx="10515600" cy="2123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cap="none" spc="0" baseline="0">
                <a:solidFill>
                  <a:schemeClr val="tx1"/>
                </a:solidFill>
                <a:latin typeface="Lato (Body)"/>
                <a:ea typeface="Lato (Body)"/>
                <a:cs typeface="Lato (Body)"/>
              </a:defRPr>
            </a:lvl1pPr>
            <a:lvl2pPr marL="4572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1100" cap="all" spc="250" baseline="0">
                <a:solidFill>
                  <a:schemeClr val="accent4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11609547" y="400050"/>
            <a:ext cx="339725" cy="33972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38914" y="479425"/>
            <a:ext cx="26987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8018E6-5008-4D09-8834-2943DEA75A3D}" type="slidenum"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(Body)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(Body)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7828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1056">
          <p15:clr>
            <a:srgbClr val="FBAE40"/>
          </p15:clr>
        </p15:guide>
        <p15:guide id="2" pos="14304">
          <p15:clr>
            <a:srgbClr val="FBAE40"/>
          </p15:clr>
        </p15:guide>
        <p15:guide id="3" orient="horz" pos="7920">
          <p15:clr>
            <a:srgbClr val="FBAE40"/>
          </p15:clr>
        </p15:guide>
        <p15:guide id="4" orient="horz" pos="504">
          <p15:clr>
            <a:srgbClr val="FBAE40"/>
          </p15:clr>
        </p15:guide>
        <p15:guide id="5" orient="horz" pos="2304">
          <p15:clr>
            <a:srgbClr val="FBAE40"/>
          </p15:clr>
        </p15:guide>
        <p15:guide id="6" pos="2208">
          <p15:clr>
            <a:srgbClr val="FBAE40"/>
          </p15:clr>
        </p15:guide>
        <p15:guide id="7" pos="131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4A978961-E983-5243-9D40-751A29EC20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54448-ED05-E24C-B5D5-B54034DCC9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38906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9600" y="687982"/>
            <a:ext cx="10706100" cy="4569818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15839489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'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477197" y="1321976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926107" y="1321976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375017" y="1321976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823927" y="1321976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477197" y="3697314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926107" y="3697314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375017" y="3697314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8823927" y="3697314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1759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26501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72420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876300" y="1598174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6492949" y="1598174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876300" y="4233639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492949" y="4233639"/>
            <a:ext cx="1828800" cy="182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6080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Work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239423" y="4841077"/>
            <a:ext cx="841248" cy="841248"/>
          </a:xfrm>
          <a:prstGeom prst="ellipse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6300" y="1598613"/>
            <a:ext cx="4610100" cy="274955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7829993" y="3616612"/>
            <a:ext cx="3485707" cy="2555588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8105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ork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449572" y="2060829"/>
            <a:ext cx="1828800" cy="1828800"/>
          </a:xfrm>
          <a:prstGeom prst="roundRect">
            <a:avLst>
              <a:gd name="adj" fmla="val 1609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937590" y="2060829"/>
            <a:ext cx="1828800" cy="1828800"/>
          </a:xfrm>
          <a:prstGeom prst="roundRect">
            <a:avLst>
              <a:gd name="adj" fmla="val 1609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425608" y="2060829"/>
            <a:ext cx="1828800" cy="1828800"/>
          </a:xfrm>
          <a:prstGeom prst="roundRect">
            <a:avLst>
              <a:gd name="adj" fmla="val 1609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913626" y="2060829"/>
            <a:ext cx="1828800" cy="1828800"/>
          </a:xfrm>
          <a:prstGeom prst="roundRect">
            <a:avLst>
              <a:gd name="adj" fmla="val 16092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74635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7A9265-1E1D-6E48-BD1F-5616CEA18022}"/>
              </a:ext>
            </a:extLst>
          </p:cNvPr>
          <p:cNvSpPr/>
          <p:nvPr userDrawn="1"/>
        </p:nvSpPr>
        <p:spPr>
          <a:xfrm rot="16200000">
            <a:off x="9795309" y="3165884"/>
            <a:ext cx="4219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Copyright ©2020 by 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Data Analytics Center</a:t>
            </a: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– Viettel Telecom. 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900" b="0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Bản</a:t>
            </a: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0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quyền</a:t>
            </a: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0" i="0" u="none" strike="noStrike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©2020</a:t>
            </a: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US" sz="900" b="0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bởi</a:t>
            </a: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Trung </a:t>
            </a:r>
            <a:r>
              <a:rPr lang="en-US" sz="900" b="1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tâm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1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phân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1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tích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1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dữ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1" i="0" u="none" strike="noStrike" dirty="0" err="1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liệu</a:t>
            </a:r>
            <a:r>
              <a:rPr lang="en-US" sz="900" b="1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900" b="0" i="0" u="none" strike="noStrike" dirty="0"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Calibri" panose="020F0502020204030204" pitchFamily="34" charset="0"/>
              </a:rPr>
              <a:t>– Viettel Telecom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2016673" y="262991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0" y="6463145"/>
            <a:ext cx="1080506" cy="39485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080506" y="6463145"/>
            <a:ext cx="11111494" cy="39485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18000">
                <a:schemeClr val="accent5">
                  <a:lumMod val="0"/>
                  <a:lumOff val="100000"/>
                </a:schemeClr>
              </a:gs>
              <a:gs pos="100000">
                <a:srgbClr val="E3092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200" dirty="0" err="1">
                <a:latin typeface="Abel" panose="02000506030000020004" pitchFamily="2" charset="0"/>
              </a:rPr>
              <a:t>Viettel</a:t>
            </a:r>
            <a:r>
              <a:rPr lang="en-US" sz="1200" baseline="0" dirty="0">
                <a:latin typeface="Abel" panose="02000506030000020004" pitchFamily="2" charset="0"/>
              </a:rPr>
              <a:t> Data Analytics Center</a:t>
            </a:r>
            <a:endParaRPr lang="vi-VN" sz="120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868891" y="6500330"/>
            <a:ext cx="1302327" cy="2953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38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  <p:sldLayoutId id="2147483821" r:id="rId20"/>
    <p:sldLayoutId id="2147483833" r:id="rId21"/>
    <p:sldLayoutId id="2147483834" r:id="rId22"/>
    <p:sldLayoutId id="2147483836" r:id="rId23"/>
    <p:sldLayoutId id="2147483837" r:id="rId24"/>
    <p:sldLayoutId id="2147483841" r:id="rId25"/>
    <p:sldLayoutId id="2147483844" r:id="rId26"/>
    <p:sldLayoutId id="2147483845" r:id="rId2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Black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mp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12" Type="http://schemas.openxmlformats.org/officeDocument/2006/relationships/image" Target="../media/image3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6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18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3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12" Type="http://schemas.openxmlformats.org/officeDocument/2006/relationships/image" Target="../media/image5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9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48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4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53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26.xml"/><Relationship Id="rId7" Type="http://schemas.openxmlformats.org/officeDocument/2006/relationships/image" Target="../media/image4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28.xml"/><Relationship Id="rId7" Type="http://schemas.openxmlformats.org/officeDocument/2006/relationships/image" Target="../media/image4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57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30.xml"/><Relationship Id="rId7" Type="http://schemas.openxmlformats.org/officeDocument/2006/relationships/image" Target="../media/image4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60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12" Type="http://schemas.openxmlformats.org/officeDocument/2006/relationships/image" Target="../media/image20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4B4F600-206C-422A-8AB2-4A6577BECBF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rgbClr val="DA2F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2" name="Picture 1" descr="Screen Clippi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8918" y="1131669"/>
              <a:ext cx="2614555" cy="624942"/>
            </a:xfrm>
            <a:prstGeom prst="rect">
              <a:avLst/>
            </a:prstGeom>
          </p:spPr>
        </p:pic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218315-D0AB-4776-A601-90394F6876FA}"/>
              </a:ext>
            </a:extLst>
          </p:cNvPr>
          <p:cNvCxnSpPr/>
          <p:nvPr/>
        </p:nvCxnSpPr>
        <p:spPr>
          <a:xfrm>
            <a:off x="11049000" y="1282700"/>
            <a:ext cx="0" cy="4292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5570A0-9CE8-466E-8836-69B22DE83C7E}"/>
              </a:ext>
            </a:extLst>
          </p:cNvPr>
          <p:cNvCxnSpPr/>
          <p:nvPr/>
        </p:nvCxnSpPr>
        <p:spPr>
          <a:xfrm>
            <a:off x="1143000" y="1282700"/>
            <a:ext cx="0" cy="4292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ubtitle 3"/>
          <p:cNvSpPr txBox="1">
            <a:spLocks/>
          </p:cNvSpPr>
          <p:nvPr/>
        </p:nvSpPr>
        <p:spPr>
          <a:xfrm>
            <a:off x="1454150" y="5002058"/>
            <a:ext cx="9283700" cy="4361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1800" b="1" dirty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>
          <a:xfrm>
            <a:off x="1454150" y="2538790"/>
            <a:ext cx="9283700" cy="313842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Gaussian Mixture Modeling </a:t>
            </a:r>
          </a:p>
          <a:p>
            <a:pPr algn="ctr"/>
            <a:r>
              <a:rPr lang="en-US" sz="4000" b="1" dirty="0" err="1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và</a:t>
            </a:r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ứng</a:t>
            </a:r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ụng</a:t>
            </a:r>
            <a:endParaRPr lang="en-US" sz="4000" b="1" dirty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 Placeholder 4"/>
          <p:cNvSpPr txBox="1">
            <a:spLocks/>
          </p:cNvSpPr>
          <p:nvPr/>
        </p:nvSpPr>
        <p:spPr>
          <a:xfrm>
            <a:off x="2661600" y="5308339"/>
            <a:ext cx="6868800" cy="3271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1/2021</a:t>
            </a:r>
          </a:p>
        </p:txBody>
      </p:sp>
    </p:spTree>
    <p:extLst>
      <p:ext uri="{BB962C8B-B14F-4D97-AF65-F5344CB8AC3E}">
        <p14:creationId xmlns:p14="http://schemas.microsoft.com/office/powerpoint/2010/main" val="41903407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.2. 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hai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iển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àm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xilary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F4D8C062-E274-4B96-9623-6CBA12B3F64D}"/>
              </a:ext>
            </a:extLst>
          </p:cNvPr>
          <p:cNvSpPr/>
          <p:nvPr/>
        </p:nvSpPr>
        <p:spPr>
          <a:xfrm>
            <a:off x="827690" y="1118621"/>
            <a:ext cx="4870746" cy="728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ảy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ra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ạ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1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iể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ó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ể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ẻo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Category: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5" name="Hình ảnh 4">
            <a:extLst>
              <a:ext uri="{FF2B5EF4-FFF2-40B4-BE49-F238E27FC236}">
                <a16:creationId xmlns:a16="http://schemas.microsoft.com/office/drawing/2014/main" id="{1C99E569-06A8-4CC0-B004-25AB0B334C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3695" y="1643812"/>
            <a:ext cx="7692361" cy="838690"/>
          </a:xfrm>
          <a:prstGeom prst="rect">
            <a:avLst/>
          </a:prstGeom>
        </p:spPr>
      </p:pic>
      <p:sp>
        <p:nvSpPr>
          <p:cNvPr id="16" name="Rectangle 31">
            <a:extLst>
              <a:ext uri="{FF2B5EF4-FFF2-40B4-BE49-F238E27FC236}">
                <a16:creationId xmlns:a16="http://schemas.microsoft.com/office/drawing/2014/main" id="{7DD429DA-DCDC-4C5F-B3A4-665EDBC30048}"/>
              </a:ext>
            </a:extLst>
          </p:cNvPr>
          <p:cNvSpPr/>
          <p:nvPr/>
        </p:nvSpPr>
        <p:spPr>
          <a:xfrm>
            <a:off x="827690" y="2466673"/>
            <a:ext cx="4870746" cy="380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á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ị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à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ồ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ờ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0" name="Hình ảnh 9">
            <a:extLst>
              <a:ext uri="{FF2B5EF4-FFF2-40B4-BE49-F238E27FC236}">
                <a16:creationId xmlns:a16="http://schemas.microsoft.com/office/drawing/2014/main" id="{ED744DBC-5FDA-4617-8922-1C8EFDDD43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73695" y="3012951"/>
            <a:ext cx="5268060" cy="685896"/>
          </a:xfrm>
          <a:prstGeom prst="rect">
            <a:avLst/>
          </a:prstGeom>
        </p:spPr>
      </p:pic>
      <p:sp>
        <p:nvSpPr>
          <p:cNvPr id="21" name="Rectangle 31">
            <a:extLst>
              <a:ext uri="{FF2B5EF4-FFF2-40B4-BE49-F238E27FC236}">
                <a16:creationId xmlns:a16="http://schemas.microsoft.com/office/drawing/2014/main" id="{F2E34F4F-ED63-49F8-8249-BDB1EF619533}"/>
              </a:ext>
            </a:extLst>
          </p:cNvPr>
          <p:cNvSpPr/>
          <p:nvPr/>
        </p:nvSpPr>
        <p:spPr>
          <a:xfrm>
            <a:off x="827690" y="3710120"/>
            <a:ext cx="4870746" cy="380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ử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ụ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1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à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auxilary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ể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ậ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ậ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a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6" name="Hình ảnh 25">
            <a:extLst>
              <a:ext uri="{FF2B5EF4-FFF2-40B4-BE49-F238E27FC236}">
                <a16:creationId xmlns:a16="http://schemas.microsoft.com/office/drawing/2014/main" id="{F21EE62A-185D-462A-8373-C4221878B8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73695" y="4165875"/>
            <a:ext cx="4620270" cy="203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786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.3.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ước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rong GMM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21" name="Rectangle 31">
            <a:extLst>
              <a:ext uri="{FF2B5EF4-FFF2-40B4-BE49-F238E27FC236}">
                <a16:creationId xmlns:a16="http://schemas.microsoft.com/office/drawing/2014/main" id="{F2E34F4F-ED63-49F8-8249-BDB1EF619533}"/>
              </a:ext>
            </a:extLst>
          </p:cNvPr>
          <p:cNvSpPr/>
          <p:nvPr/>
        </p:nvSpPr>
        <p:spPr>
          <a:xfrm>
            <a:off x="827689" y="1273325"/>
            <a:ext cx="6182607" cy="4218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1,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hở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ạo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a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ban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ầ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gầ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iê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μ, ∑, and mixing coefficient π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2,  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ự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iệ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ò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ặp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	Expectation Step: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ính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ỗ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iể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ự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ào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aussian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	Maximization Ste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</a:t>
            </a:r>
            <a:r>
              <a:rPr lang="vi-VN" sz="1400" dirty="0" err="1">
                <a:solidFill>
                  <a:srgbClr val="333333"/>
                </a:solidFill>
                <a:latin typeface="+mj-lt"/>
                <a:cs typeface="Arial" panose="020B0604020202020204" pitchFamily="34" charset="0"/>
              </a:rPr>
              <a:t>C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ật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nhật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lại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tham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số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phân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phối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theo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hàm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 </a:t>
            </a:r>
            <a:r>
              <a:rPr lang="vi-VN" sz="1400" b="0" i="1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auxiliary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	</a:t>
            </a: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084783B2-0C96-4787-8963-8FDA16273B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30287" y="2841024"/>
            <a:ext cx="4201111" cy="1533739"/>
          </a:xfrm>
          <a:prstGeom prst="rect">
            <a:avLst/>
          </a:prstGeom>
        </p:spPr>
      </p:pic>
      <p:pic>
        <p:nvPicPr>
          <p:cNvPr id="5" name="Hình ảnh 4">
            <a:extLst>
              <a:ext uri="{FF2B5EF4-FFF2-40B4-BE49-F238E27FC236}">
                <a16:creationId xmlns:a16="http://schemas.microsoft.com/office/drawing/2014/main" id="{EA47A689-8D85-4376-93AE-0531B2D94B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9975" y="5261088"/>
            <a:ext cx="1457528" cy="743054"/>
          </a:xfrm>
          <a:prstGeom prst="rect">
            <a:avLst/>
          </a:prstGeom>
        </p:spPr>
      </p:pic>
      <p:pic>
        <p:nvPicPr>
          <p:cNvPr id="10" name="Hình ảnh 9">
            <a:extLst>
              <a:ext uri="{FF2B5EF4-FFF2-40B4-BE49-F238E27FC236}">
                <a16:creationId xmlns:a16="http://schemas.microsoft.com/office/drawing/2014/main" id="{EFCB3465-7F1C-4D2F-B6E2-86DAF91950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64161" y="4841929"/>
            <a:ext cx="3600953" cy="1581371"/>
          </a:xfrm>
          <a:prstGeom prst="rect">
            <a:avLst/>
          </a:prstGeom>
        </p:spPr>
      </p:pic>
      <p:pic>
        <p:nvPicPr>
          <p:cNvPr id="12" name="Hình ảnh 11">
            <a:extLst>
              <a:ext uri="{FF2B5EF4-FFF2-40B4-BE49-F238E27FC236}">
                <a16:creationId xmlns:a16="http://schemas.microsoft.com/office/drawing/2014/main" id="{C1D2CCFE-5BFB-4413-A3A8-E3A8F57C33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49764" y="5002124"/>
            <a:ext cx="2210108" cy="781159"/>
          </a:xfrm>
          <a:prstGeom prst="rect">
            <a:avLst/>
          </a:prstGeom>
        </p:spPr>
      </p:pic>
      <p:pic>
        <p:nvPicPr>
          <p:cNvPr id="14" name="Hình ảnh 13">
            <a:extLst>
              <a:ext uri="{FF2B5EF4-FFF2-40B4-BE49-F238E27FC236}">
                <a16:creationId xmlns:a16="http://schemas.microsoft.com/office/drawing/2014/main" id="{D9242BBE-3AF4-466A-8538-33D0C348B20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10297" y="234555"/>
            <a:ext cx="4560164" cy="2914877"/>
          </a:xfrm>
          <a:prstGeom prst="rect">
            <a:avLst/>
          </a:prstGeom>
        </p:spPr>
      </p:pic>
      <p:pic>
        <p:nvPicPr>
          <p:cNvPr id="16" name="Hình ảnh 15">
            <a:extLst>
              <a:ext uri="{FF2B5EF4-FFF2-40B4-BE49-F238E27FC236}">
                <a16:creationId xmlns:a16="http://schemas.microsoft.com/office/drawing/2014/main" id="{2A206391-8F7B-404A-B670-D44634A4FE3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10297" y="3149432"/>
            <a:ext cx="4560164" cy="3111958"/>
          </a:xfrm>
          <a:prstGeom prst="rect">
            <a:avLst/>
          </a:prstGeom>
        </p:spPr>
      </p:pic>
      <p:pic>
        <p:nvPicPr>
          <p:cNvPr id="19" name="Hình ảnh 18">
            <a:extLst>
              <a:ext uri="{FF2B5EF4-FFF2-40B4-BE49-F238E27FC236}">
                <a16:creationId xmlns:a16="http://schemas.microsoft.com/office/drawing/2014/main" id="{5950D95A-5BCA-4AF8-BB3D-0FEE9C3EB3A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04977" y="4790677"/>
            <a:ext cx="2105319" cy="790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9741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.3.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ác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ước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rong GMM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3D932EC5-8EE3-4A0D-ACCF-104F9925B5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87034" y="963933"/>
            <a:ext cx="3587032" cy="2530469"/>
          </a:xfrm>
          <a:prstGeom prst="rect">
            <a:avLst/>
          </a:prstGeom>
        </p:spPr>
      </p:pic>
      <p:pic>
        <p:nvPicPr>
          <p:cNvPr id="11" name="Hình ảnh 10">
            <a:extLst>
              <a:ext uri="{FF2B5EF4-FFF2-40B4-BE49-F238E27FC236}">
                <a16:creationId xmlns:a16="http://schemas.microsoft.com/office/drawing/2014/main" id="{6A8E26D1-90FA-4E7B-9C9E-2DC83B4ACC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87034" y="3674040"/>
            <a:ext cx="3566148" cy="2530470"/>
          </a:xfrm>
          <a:prstGeom prst="rect">
            <a:avLst/>
          </a:prstGeom>
        </p:spPr>
      </p:pic>
      <p:pic>
        <p:nvPicPr>
          <p:cNvPr id="15" name="Hình ảnh 14">
            <a:extLst>
              <a:ext uri="{FF2B5EF4-FFF2-40B4-BE49-F238E27FC236}">
                <a16:creationId xmlns:a16="http://schemas.microsoft.com/office/drawing/2014/main" id="{31E4187F-FD1A-4ED8-B8AD-E0777D63F3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6840" y="883758"/>
            <a:ext cx="3510101" cy="2570699"/>
          </a:xfrm>
          <a:prstGeom prst="rect">
            <a:avLst/>
          </a:prstGeom>
        </p:spPr>
      </p:pic>
      <p:pic>
        <p:nvPicPr>
          <p:cNvPr id="18" name="Hình ảnh 17">
            <a:extLst>
              <a:ext uri="{FF2B5EF4-FFF2-40B4-BE49-F238E27FC236}">
                <a16:creationId xmlns:a16="http://schemas.microsoft.com/office/drawing/2014/main" id="{ABDE5A2F-AA38-4B76-9637-D7B52401926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5955" y="3674040"/>
            <a:ext cx="3529697" cy="2710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244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.4. </a:t>
            </a:r>
            <a:r>
              <a:rPr lang="en-US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-Means VS Gaussian Mixture Model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B9BF3811-3EAC-4F00-A854-7C73121E24E8}"/>
              </a:ext>
            </a:extLst>
          </p:cNvPr>
          <p:cNvSpPr/>
          <p:nvPr/>
        </p:nvSpPr>
        <p:spPr>
          <a:xfrm>
            <a:off x="849299" y="1601415"/>
            <a:ext cx="6381493" cy="4193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ự</a:t>
            </a: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khác</a:t>
            </a: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iệt</a:t>
            </a: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: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, 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K-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a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không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ính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đế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phương sai</a:t>
            </a:r>
            <a:endParaRPr lang="en-US" sz="14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,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K-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a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cho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ú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a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iế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điểm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ào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uộ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ề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ào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nhưng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ẽ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không cung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ấp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cho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ú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ôi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à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ộ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điểm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hấ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định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uộ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ề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ừ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ó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ể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ó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.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ạ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: 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K-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a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ỉ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ạ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độ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ố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ầu</a:t>
            </a:r>
            <a:endParaRPr lang="vi-VN" sz="14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MM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ạ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độ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ố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bố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ọ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phi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uyế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inh.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erformance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: GMM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ường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ốt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hơn trên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hiều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ử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ghiệm</a:t>
            </a:r>
            <a:endParaRPr lang="vi-VN" sz="14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omputation Time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: K-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ans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ẽ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nhanh hơn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ếu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ử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ghiệm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khác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nhau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Khả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năng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iễ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iải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: K-</a:t>
            </a:r>
            <a:r>
              <a:rPr lang="vi-VN" sz="14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an</a:t>
            </a:r>
            <a:r>
              <a:rPr lang="vi-VN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&gt; GMM</a:t>
            </a:r>
            <a:endParaRPr lang="en-US" sz="14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21B7A491-B7C1-4E26-A5F2-AAA73D1750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8392" y="966207"/>
            <a:ext cx="3639577" cy="2598628"/>
          </a:xfrm>
          <a:prstGeom prst="rect">
            <a:avLst/>
          </a:prstGeom>
        </p:spPr>
      </p:pic>
      <p:pic>
        <p:nvPicPr>
          <p:cNvPr id="8" name="Hình ảnh 7">
            <a:extLst>
              <a:ext uri="{FF2B5EF4-FFF2-40B4-BE49-F238E27FC236}">
                <a16:creationId xmlns:a16="http://schemas.microsoft.com/office/drawing/2014/main" id="{10732BA9-6623-4345-8C04-EE5778C9C6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98392" y="3590841"/>
            <a:ext cx="3639577" cy="2620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962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2702" y="6495359"/>
            <a:ext cx="868543" cy="31174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" y="2287908"/>
            <a:ext cx="3512171" cy="592901"/>
            <a:chOff x="661619" y="360328"/>
            <a:chExt cx="5268256" cy="88935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695" y="360329"/>
              <a:ext cx="4541343" cy="889351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038" y="360328"/>
              <a:ext cx="379837" cy="889352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19" y="360329"/>
              <a:ext cx="365239" cy="889351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901930"/>
            <a:ext cx="7903181" cy="122625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3494" y="3136612"/>
            <a:ext cx="7586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 Gaussian Mixture Model</a:t>
            </a:r>
            <a:endParaRPr lang="en-US" sz="3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" y="2388368"/>
            <a:ext cx="351217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33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ẦN 3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63535" y="4123108"/>
            <a:ext cx="1136816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67" i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6416090"/>
            <a:ext cx="12192000" cy="441905"/>
            <a:chOff x="0" y="4812071"/>
            <a:chExt cx="9144000" cy="331429"/>
          </a:xfrm>
        </p:grpSpPr>
        <p:grpSp>
          <p:nvGrpSpPr>
            <p:cNvPr id="2" name="Group 1"/>
            <p:cNvGrpSpPr/>
            <p:nvPr/>
          </p:nvGrpSpPr>
          <p:grpSpPr>
            <a:xfrm>
              <a:off x="0" y="4812071"/>
              <a:ext cx="9144000" cy="331429"/>
              <a:chOff x="0" y="4812071"/>
              <a:chExt cx="9144000" cy="331429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4812071"/>
                <a:ext cx="9144000" cy="331429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374649" y="4889882"/>
                <a:ext cx="2006241" cy="1924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67" spc="400">
                    <a:solidFill>
                      <a:srgbClr val="B4B4B4"/>
                    </a:solidFill>
                    <a:latin typeface="FS PF BeauSans Pro Light" panose="02000500000000020004" pitchFamily="2" charset="0"/>
                  </a:rPr>
                  <a:t>www.viette.vn</a:t>
                </a:r>
                <a:endParaRPr lang="en-US" sz="1067" spc="400" dirty="0">
                  <a:solidFill>
                    <a:srgbClr val="B4B4B4"/>
                  </a:solidFill>
                  <a:latin typeface="FS PF BeauSans Pro Light" panose="02000500000000020004" pitchFamily="2" charset="0"/>
                </a:endParaRPr>
              </a:p>
            </p:txBody>
          </p:sp>
        </p:grp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4010" y="4887636"/>
              <a:ext cx="716032" cy="1576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08454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3.1.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xture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ctor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alysers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Hộp Văn bản 12">
            <a:extLst>
              <a:ext uri="{FF2B5EF4-FFF2-40B4-BE49-F238E27FC236}">
                <a16:creationId xmlns:a16="http://schemas.microsoft.com/office/drawing/2014/main" id="{8BF26147-6FAC-4F7E-B2A7-C3172ECD2FD3}"/>
              </a:ext>
            </a:extLst>
          </p:cNvPr>
          <p:cNvSpPr txBox="1"/>
          <p:nvPr/>
        </p:nvSpPr>
        <p:spPr>
          <a:xfrm>
            <a:off x="827689" y="1315753"/>
            <a:ext cx="643781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  <a:latin typeface="+mj-lt"/>
              </a:rPr>
              <a:t>MFA model là 1 phần mở rộng của Factor Analysis Model 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r>
              <a:rPr lang="vi-VN" sz="1400" dirty="0" err="1">
                <a:solidFill>
                  <a:schemeClr val="tx2"/>
                </a:solidFill>
                <a:latin typeface="+mj-lt"/>
              </a:rPr>
              <a:t>Chú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giả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rằ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1 qua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á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                 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ó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ể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ợ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iể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iễ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hông qua 1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ector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gẫ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nhiê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iề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ẩ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                  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R ≤ J</a:t>
            </a:r>
          </a:p>
        </p:txBody>
      </p:sp>
      <p:pic>
        <p:nvPicPr>
          <p:cNvPr id="19" name="Picture 29">
            <a:extLst>
              <a:ext uri="{FF2B5EF4-FFF2-40B4-BE49-F238E27FC236}">
                <a16:creationId xmlns:a16="http://schemas.microsoft.com/office/drawing/2014/main" id="{4A71A6BA-EDCC-4552-87B3-F1BFC73A1F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53578" y="1792806"/>
            <a:ext cx="533400" cy="219075"/>
          </a:xfrm>
          <a:prstGeom prst="rect">
            <a:avLst/>
          </a:prstGeom>
        </p:spPr>
      </p:pic>
      <p:pic>
        <p:nvPicPr>
          <p:cNvPr id="20" name="Picture 28">
            <a:extLst>
              <a:ext uri="{FF2B5EF4-FFF2-40B4-BE49-F238E27FC236}">
                <a16:creationId xmlns:a16="http://schemas.microsoft.com/office/drawing/2014/main" id="{5D570C4D-3078-4320-8440-02A4135526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31509" y="1630881"/>
            <a:ext cx="581025" cy="161925"/>
          </a:xfrm>
          <a:prstGeom prst="rect">
            <a:avLst/>
          </a:prstGeom>
        </p:spPr>
      </p:pic>
      <p:pic>
        <p:nvPicPr>
          <p:cNvPr id="21" name="Picture 30">
            <a:extLst>
              <a:ext uri="{FF2B5EF4-FFF2-40B4-BE49-F238E27FC236}">
                <a16:creationId xmlns:a16="http://schemas.microsoft.com/office/drawing/2014/main" id="{044E5361-5909-46FD-95AF-72B8FD384A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09881" y="984770"/>
            <a:ext cx="3289771" cy="1661670"/>
          </a:xfrm>
          <a:prstGeom prst="rect">
            <a:avLst/>
          </a:prstGeom>
        </p:spPr>
      </p:pic>
      <p:sp>
        <p:nvSpPr>
          <p:cNvPr id="25" name="Hộp Văn bản 24">
            <a:extLst>
              <a:ext uri="{FF2B5EF4-FFF2-40B4-BE49-F238E27FC236}">
                <a16:creationId xmlns:a16="http://schemas.microsoft.com/office/drawing/2014/main" id="{E4725125-FA65-4C01-B86B-41B0484CD314}"/>
              </a:ext>
            </a:extLst>
          </p:cNvPr>
          <p:cNvSpPr txBox="1"/>
          <p:nvPr/>
        </p:nvSpPr>
        <p:spPr>
          <a:xfrm>
            <a:off x="827689" y="2894033"/>
            <a:ext cx="6102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GMM theo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iể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x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G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ụ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</a:t>
            </a:r>
          </a:p>
        </p:txBody>
      </p:sp>
      <p:pic>
        <p:nvPicPr>
          <p:cNvPr id="26" name="Picture 31">
            <a:extLst>
              <a:ext uri="{FF2B5EF4-FFF2-40B4-BE49-F238E27FC236}">
                <a16:creationId xmlns:a16="http://schemas.microsoft.com/office/drawing/2014/main" id="{F6501E61-B82E-4549-BD41-E7BECD10A7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11949" y="3487427"/>
            <a:ext cx="2750057" cy="721126"/>
          </a:xfrm>
          <a:prstGeom prst="rect">
            <a:avLst/>
          </a:prstGeom>
        </p:spPr>
      </p:pic>
      <p:sp>
        <p:nvSpPr>
          <p:cNvPr id="28" name="Hộp Văn bản 27">
            <a:extLst>
              <a:ext uri="{FF2B5EF4-FFF2-40B4-BE49-F238E27FC236}">
                <a16:creationId xmlns:a16="http://schemas.microsoft.com/office/drawing/2014/main" id="{7BAD12AD-374E-42F6-9E35-2BB2BBD78FC5}"/>
              </a:ext>
            </a:extLst>
          </p:cNvPr>
          <p:cNvSpPr txBox="1"/>
          <p:nvPr/>
        </p:nvSpPr>
        <p:spPr>
          <a:xfrm>
            <a:off x="827689" y="4317088"/>
            <a:ext cx="6102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+mj-lt"/>
                <a:ea typeface="Calibri" panose="020F0502020204030204" pitchFamily="34" charset="0"/>
              </a:rPr>
              <a:t>H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àm</a:t>
            </a:r>
            <a:r>
              <a:rPr lang="en-US" sz="1400" dirty="0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 log-likelihood 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với</a:t>
            </a:r>
            <a:r>
              <a:rPr lang="en-US" sz="1400" dirty="0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 N 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điểm</a:t>
            </a:r>
            <a:r>
              <a:rPr lang="en-US" sz="1400" dirty="0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dữ</a:t>
            </a:r>
            <a:r>
              <a:rPr lang="en-US" sz="1400" dirty="0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liệu</a:t>
            </a:r>
            <a:r>
              <a:rPr lang="en-US" sz="1400" dirty="0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 x1, x2,.. 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xN</a:t>
            </a:r>
            <a:r>
              <a:rPr lang="en-US" sz="1400" dirty="0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2"/>
                </a:solidFill>
                <a:effectLst/>
                <a:latin typeface="+mj-lt"/>
                <a:ea typeface="Calibri" panose="020F0502020204030204" pitchFamily="34" charset="0"/>
              </a:rPr>
              <a:t>là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29" name="Picture 32">
            <a:extLst>
              <a:ext uri="{FF2B5EF4-FFF2-40B4-BE49-F238E27FC236}">
                <a16:creationId xmlns:a16="http://schemas.microsoft.com/office/drawing/2014/main" id="{C1000D58-8998-4E24-872D-75236C02544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38676" y="4891572"/>
            <a:ext cx="3296602" cy="671094"/>
          </a:xfrm>
          <a:prstGeom prst="rect">
            <a:avLst/>
          </a:prstGeom>
        </p:spPr>
      </p:pic>
      <p:sp>
        <p:nvSpPr>
          <p:cNvPr id="33" name="Hộp Văn bản 32">
            <a:extLst>
              <a:ext uri="{FF2B5EF4-FFF2-40B4-BE49-F238E27FC236}">
                <a16:creationId xmlns:a16="http://schemas.microsoft.com/office/drawing/2014/main" id="{DAA3A2D8-C241-4020-BDEA-6D134E6AF75D}"/>
              </a:ext>
            </a:extLst>
          </p:cNvPr>
          <p:cNvSpPr txBox="1"/>
          <p:nvPr/>
        </p:nvSpPr>
        <p:spPr>
          <a:xfrm>
            <a:off x="7509881" y="2832328"/>
            <a:ext cx="4044259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g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index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vi = 1</a:t>
            </a: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-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Λ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1 m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rậ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J*R</a:t>
            </a: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-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η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 ∈ R*J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etor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rung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odel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hâ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íc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yêu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ứ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G (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gT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factor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analysi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odel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)</a:t>
            </a: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-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ψ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: m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rậ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iệ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hương sa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éo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kíc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ướ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J.</a:t>
            </a: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-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π = (π1, . . . , π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)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ỷ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ệ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ixing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- vi = (vi1, . . . ,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i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)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iế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iề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ẩ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ạ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iệ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cho pha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ù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ể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iể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qua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á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(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i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= 1) =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π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19105852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3.2.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ep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ussian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xture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dels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Hộp Văn bản 12">
            <a:extLst>
              <a:ext uri="{FF2B5EF4-FFF2-40B4-BE49-F238E27FC236}">
                <a16:creationId xmlns:a16="http://schemas.microsoft.com/office/drawing/2014/main" id="{8BF26147-6FAC-4F7E-B2A7-C3172ECD2FD3}"/>
              </a:ext>
            </a:extLst>
          </p:cNvPr>
          <p:cNvSpPr txBox="1"/>
          <p:nvPr/>
        </p:nvSpPr>
        <p:spPr>
          <a:xfrm>
            <a:off x="827689" y="1315753"/>
            <a:ext cx="672605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  <a:latin typeface="+mj-lt"/>
              </a:rPr>
              <a:t>Deep Gaussian mixture model (DGMM) là một mạng của nhiều lớp các biến tiềm ẩn. Ở mỗi lớp, các biến theo pha trộn phân phối Gaussia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</a:t>
            </a: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DGM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iệ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xây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ự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ạ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oro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fully-connected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giả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iề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iệ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ở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ỗ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ayer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ụ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u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oá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E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ể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h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á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ha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</a:t>
            </a: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  <a:p>
            <a:r>
              <a:rPr lang="vi-VN" sz="1400" dirty="0" err="1">
                <a:solidFill>
                  <a:schemeClr val="tx2"/>
                </a:solidFill>
                <a:latin typeface="+mj-lt"/>
              </a:rPr>
              <a:t>Giả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xây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ự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ạ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L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ayer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at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x = (xi) i = 1→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ợ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sinh ra như sau:</a:t>
            </a:r>
          </a:p>
        </p:txBody>
      </p:sp>
      <p:pic>
        <p:nvPicPr>
          <p:cNvPr id="15" name="Picture 34">
            <a:extLst>
              <a:ext uri="{FF2B5EF4-FFF2-40B4-BE49-F238E27FC236}">
                <a16:creationId xmlns:a16="http://schemas.microsoft.com/office/drawing/2014/main" id="{3A7F663F-1DD9-45C3-988E-F878DF856C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30749" y="1530053"/>
            <a:ext cx="3876675" cy="1971675"/>
          </a:xfrm>
          <a:prstGeom prst="rect">
            <a:avLst/>
          </a:prstGeom>
        </p:spPr>
      </p:pic>
      <p:pic>
        <p:nvPicPr>
          <p:cNvPr id="16" name="Picture 35">
            <a:extLst>
              <a:ext uri="{FF2B5EF4-FFF2-40B4-BE49-F238E27FC236}">
                <a16:creationId xmlns:a16="http://schemas.microsoft.com/office/drawing/2014/main" id="{6B630905-85B4-40E2-9DEB-AF24E33DCC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7689" y="2845030"/>
            <a:ext cx="7251423" cy="2115270"/>
          </a:xfrm>
          <a:prstGeom prst="rect">
            <a:avLst/>
          </a:prstGeom>
        </p:spPr>
      </p:pic>
      <p:sp>
        <p:nvSpPr>
          <p:cNvPr id="22" name="Hộp Văn bản 21">
            <a:extLst>
              <a:ext uri="{FF2B5EF4-FFF2-40B4-BE49-F238E27FC236}">
                <a16:creationId xmlns:a16="http://schemas.microsoft.com/office/drawing/2014/main" id="{2E78082A-D470-4191-B426-11D26F694FDF}"/>
              </a:ext>
            </a:extLst>
          </p:cNvPr>
          <p:cNvSpPr txBox="1"/>
          <p:nvPr/>
        </p:nvSpPr>
        <p:spPr>
          <a:xfrm>
            <a:off x="827689" y="5271468"/>
            <a:ext cx="61026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Ở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ỗ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ayer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l, phâ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phố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z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(l)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ợ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cho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ở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z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(l-1)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1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ixture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Gaussia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istribution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 </a:t>
            </a:r>
          </a:p>
        </p:txBody>
      </p:sp>
      <p:pic>
        <p:nvPicPr>
          <p:cNvPr id="23" name="Picture 36">
            <a:extLst>
              <a:ext uri="{FF2B5EF4-FFF2-40B4-BE49-F238E27FC236}">
                <a16:creationId xmlns:a16="http://schemas.microsoft.com/office/drawing/2014/main" id="{25D95397-9F1C-423A-9F78-49F32F1242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57375" y="5794688"/>
            <a:ext cx="4238625" cy="590550"/>
          </a:xfrm>
          <a:prstGeom prst="rect">
            <a:avLst/>
          </a:prstGeom>
        </p:spPr>
      </p:pic>
      <p:pic>
        <p:nvPicPr>
          <p:cNvPr id="5" name="Hình ảnh 4">
            <a:extLst>
              <a:ext uri="{FF2B5EF4-FFF2-40B4-BE49-F238E27FC236}">
                <a16:creationId xmlns:a16="http://schemas.microsoft.com/office/drawing/2014/main" id="{FD414B65-FC76-4AA6-9349-7127DA34A5A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76154" y="3902665"/>
            <a:ext cx="4471045" cy="185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154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2702" y="6495359"/>
            <a:ext cx="868543" cy="31174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" y="2287908"/>
            <a:ext cx="3512171" cy="592901"/>
            <a:chOff x="661619" y="360328"/>
            <a:chExt cx="5268256" cy="88935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695" y="360329"/>
              <a:ext cx="4541343" cy="889351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038" y="360328"/>
              <a:ext cx="379837" cy="889352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19" y="360329"/>
              <a:ext cx="365239" cy="889351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901930"/>
            <a:ext cx="7903181" cy="122625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3494" y="3136612"/>
            <a:ext cx="7586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Ứng</a:t>
            </a:r>
            <a:r>
              <a:rPr lang="en-US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endParaRPr lang="en-US" sz="3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" y="2388368"/>
            <a:ext cx="351217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33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ẦN 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63535" y="4123108"/>
            <a:ext cx="1136816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67" i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6416090"/>
            <a:ext cx="12192000" cy="441905"/>
            <a:chOff x="0" y="4812071"/>
            <a:chExt cx="9144000" cy="331429"/>
          </a:xfrm>
        </p:grpSpPr>
        <p:grpSp>
          <p:nvGrpSpPr>
            <p:cNvPr id="2" name="Group 1"/>
            <p:cNvGrpSpPr/>
            <p:nvPr/>
          </p:nvGrpSpPr>
          <p:grpSpPr>
            <a:xfrm>
              <a:off x="0" y="4812071"/>
              <a:ext cx="9144000" cy="331429"/>
              <a:chOff x="0" y="4812071"/>
              <a:chExt cx="9144000" cy="331429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4812071"/>
                <a:ext cx="9144000" cy="331429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374649" y="4889882"/>
                <a:ext cx="2006241" cy="1924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67" spc="400">
                    <a:solidFill>
                      <a:srgbClr val="B4B4B4"/>
                    </a:solidFill>
                    <a:latin typeface="FS PF BeauSans Pro Light" panose="02000500000000020004" pitchFamily="2" charset="0"/>
                  </a:rPr>
                  <a:t>www.viette.vn</a:t>
                </a:r>
                <a:endParaRPr lang="en-US" sz="1067" spc="400" dirty="0">
                  <a:solidFill>
                    <a:srgbClr val="B4B4B4"/>
                  </a:solidFill>
                  <a:latin typeface="FS PF BeauSans Pro Light" panose="02000500000000020004" pitchFamily="2" charset="0"/>
                </a:endParaRPr>
              </a:p>
            </p:txBody>
          </p:sp>
        </p:grp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4010" y="4887636"/>
              <a:ext cx="716032" cy="1576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198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Ứng</a:t>
            </a:r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Hộp Văn bản 9">
            <a:extLst>
              <a:ext uri="{FF2B5EF4-FFF2-40B4-BE49-F238E27FC236}">
                <a16:creationId xmlns:a16="http://schemas.microsoft.com/office/drawing/2014/main" id="{F42D276F-CBA2-4993-A439-624893F810CD}"/>
              </a:ext>
            </a:extLst>
          </p:cNvPr>
          <p:cNvSpPr txBox="1"/>
          <p:nvPr/>
        </p:nvSpPr>
        <p:spPr>
          <a:xfrm>
            <a:off x="827689" y="1315753"/>
            <a:ext cx="5917668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GM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ụ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klear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vi-VN" sz="1400" dirty="0" err="1">
                <a:solidFill>
                  <a:schemeClr val="tx2"/>
                </a:solidFill>
                <a:latin typeface="+mj-lt"/>
              </a:rPr>
              <a:t>n_component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ượ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ụ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ú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ầ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hân chia.</a:t>
            </a: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vi-VN" sz="1400" dirty="0" err="1">
                <a:solidFill>
                  <a:schemeClr val="tx2"/>
                </a:solidFill>
                <a:latin typeface="+mj-lt"/>
              </a:rPr>
              <a:t>covariance_type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ị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ạ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ovariance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ợ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ụ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rong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u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oá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GMM. Trong đó bao gồm: {'full', 'tied', 'diag', 'spherical'}.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‘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full’ mặc định có nghĩa rằng mỗi một thành phần cụm có một ma trận hiệp phương sai riêng. ‘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ied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’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ợ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ự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ọ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kh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ú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uố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ồ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hấ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rậ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iệ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hương sa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giữ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á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ụ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 ‘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ia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’ tương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ứ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rậ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iệ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hương sa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rậ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ờ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éo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khi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ự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ọ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‘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pherical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’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ó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ghĩ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rằ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ỗ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ộ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à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phầ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ụ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ẽ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ó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ộ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phương sai riêng.</a:t>
            </a:r>
          </a:p>
          <a:p>
            <a:pPr marL="285750" indent="-285750">
              <a:buFontTx/>
              <a:buChar char="-"/>
            </a:pP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vi-VN" sz="1400" dirty="0" err="1">
                <a:solidFill>
                  <a:schemeClr val="tx2"/>
                </a:solidFill>
                <a:latin typeface="+mj-lt"/>
              </a:rPr>
              <a:t>tol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gưỡ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ộ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ụ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u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oá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EM.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ế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ứ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ộ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ả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iệ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à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ụ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iế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ấ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hơ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gưỡ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ày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ì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ẽ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ừ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</a:t>
            </a:r>
          </a:p>
          <a:p>
            <a:pPr marL="285750" indent="-285750">
              <a:buFontTx/>
              <a:buChar char="-"/>
            </a:pP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vi-VN" sz="1400" dirty="0" err="1">
                <a:solidFill>
                  <a:schemeClr val="tx2"/>
                </a:solidFill>
                <a:latin typeface="+mj-lt"/>
              </a:rPr>
              <a:t>max_iter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ượ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ò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ặ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ố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đ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u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oá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EM.</a:t>
            </a:r>
          </a:p>
          <a:p>
            <a:pPr marL="285750" indent="-285750">
              <a:buFontTx/>
              <a:buChar char="-"/>
            </a:pP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vi-VN" sz="1400" dirty="0" err="1">
                <a:solidFill>
                  <a:schemeClr val="tx2"/>
                </a:solidFill>
                <a:latin typeface="+mj-lt"/>
              </a:rPr>
              <a:t>init_param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: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ự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ọ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khở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ạo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ha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cho 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ú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ba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ầ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ặ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ị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ẽ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ụ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khở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ạo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ừ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u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oá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k-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ean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lusteri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 Như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ậy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sau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ỗ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ò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ặ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ì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uậ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oá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ẽ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ử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ỗ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k-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ean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ạo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r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ộ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kế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quả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ứ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ộ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ợ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ý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cao hơn so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k-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eans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.</a:t>
            </a: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0CA0B127-C921-42A1-971F-4E6EFCD18B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9289" y="1127977"/>
            <a:ext cx="3718712" cy="2089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679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Ứng</a:t>
            </a:r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Hộp Văn bản 9">
            <a:extLst>
              <a:ext uri="{FF2B5EF4-FFF2-40B4-BE49-F238E27FC236}">
                <a16:creationId xmlns:a16="http://schemas.microsoft.com/office/drawing/2014/main" id="{F42D276F-CBA2-4993-A439-624893F810CD}"/>
              </a:ext>
            </a:extLst>
          </p:cNvPr>
          <p:cNvSpPr txBox="1"/>
          <p:nvPr/>
        </p:nvSpPr>
        <p:spPr>
          <a:xfrm>
            <a:off x="827689" y="1315753"/>
            <a:ext cx="5917668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 err="1">
                <a:solidFill>
                  <a:schemeClr val="tx2"/>
                </a:solidFill>
                <a:latin typeface="+mj-lt"/>
              </a:rPr>
              <a:t>Lự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họn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siêu tha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cho 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GMM:</a:t>
            </a:r>
          </a:p>
          <a:p>
            <a:r>
              <a:rPr lang="vi-VN" sz="1400" dirty="0" err="1">
                <a:solidFill>
                  <a:schemeClr val="tx2"/>
                </a:solidFill>
                <a:latin typeface="+mj-lt"/>
              </a:rPr>
              <a:t>Sử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ụ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it-IT" sz="1400" dirty="0">
                <a:solidFill>
                  <a:schemeClr val="tx2"/>
                </a:solidFill>
                <a:latin typeface="+mj-lt"/>
              </a:rPr>
              <a:t>chỉ số BIC (Bayesian Information Criteria)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-      k 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ượ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ham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ượ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ướ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ượ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ừ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</a:p>
          <a:p>
            <a:pPr marL="285750" indent="-285750">
              <a:buFontTx/>
              <a:buChar char="-"/>
            </a:pPr>
            <a:r>
              <a:rPr lang="vi-VN" sz="1400" dirty="0">
                <a:solidFill>
                  <a:schemeClr val="tx2"/>
                </a:solidFill>
                <a:latin typeface="+mj-lt"/>
              </a:rPr>
              <a:t>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ượ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quan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sá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ộ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iệu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vi-VN" sz="1400" dirty="0">
                <a:solidFill>
                  <a:schemeClr val="tx2"/>
                </a:solidFill>
                <a:latin typeface="+mj-lt"/>
              </a:rPr>
              <a:t>L^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giá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rị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ướ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ượ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ố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đa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à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ợ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ý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endParaRPr lang="vi-VN" sz="1400" dirty="0">
              <a:solidFill>
                <a:schemeClr val="tx2"/>
              </a:solidFill>
              <a:latin typeface="+mj-lt"/>
            </a:endParaRPr>
          </a:p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ó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BIC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à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hỏ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thì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mứ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ộ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ợp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ý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mô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ình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ố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ộ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dữ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liệu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càng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cao. </a:t>
            </a: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0CA0B127-C921-42A1-971F-4E6EFCD18B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9289" y="1127977"/>
            <a:ext cx="3718712" cy="2089443"/>
          </a:xfrm>
          <a:prstGeom prst="rect">
            <a:avLst/>
          </a:prstGeom>
        </p:spPr>
      </p:pic>
      <p:pic>
        <p:nvPicPr>
          <p:cNvPr id="4" name="Hình ảnh 3">
            <a:extLst>
              <a:ext uri="{FF2B5EF4-FFF2-40B4-BE49-F238E27FC236}">
                <a16:creationId xmlns:a16="http://schemas.microsoft.com/office/drawing/2014/main" id="{6FF98B52-D595-46FE-9A58-0535CEACF3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23999" y="1953926"/>
            <a:ext cx="3189135" cy="625320"/>
          </a:xfrm>
          <a:prstGeom prst="rect">
            <a:avLst/>
          </a:prstGeom>
        </p:spPr>
      </p:pic>
      <p:pic>
        <p:nvPicPr>
          <p:cNvPr id="11" name="Hình ảnh 10">
            <a:extLst>
              <a:ext uri="{FF2B5EF4-FFF2-40B4-BE49-F238E27FC236}">
                <a16:creationId xmlns:a16="http://schemas.microsoft.com/office/drawing/2014/main" id="{44738042-E38C-433E-AE6A-777639CFD7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49289" y="3429000"/>
            <a:ext cx="4288946" cy="289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642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 txBox="1">
            <a:spLocks/>
          </p:cNvSpPr>
          <p:nvPr/>
        </p:nvSpPr>
        <p:spPr>
          <a:xfrm>
            <a:off x="618369" y="773639"/>
            <a:ext cx="10538460" cy="33312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Lato Black" pitchFamily="34" charset="0"/>
              </a:defRPr>
            </a:lvl9pPr>
          </a:lstStyle>
          <a:p>
            <a:r>
              <a:rPr lang="en-GB" sz="24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MỤC LỤC</a:t>
            </a:r>
            <a:endParaRPr lang="en-GB" sz="2400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31">
            <a:extLst>
              <a:ext uri="{FF2B5EF4-FFF2-40B4-BE49-F238E27FC236}">
                <a16:creationId xmlns:a16="http://schemas.microsoft.com/office/drawing/2014/main" id="{F4D8C062-E274-4B96-9623-6CBA12B3F64D}"/>
              </a:ext>
            </a:extLst>
          </p:cNvPr>
          <p:cNvSpPr/>
          <p:nvPr/>
        </p:nvSpPr>
        <p:spPr>
          <a:xfrm>
            <a:off x="1092094" y="1416711"/>
            <a:ext cx="7611230" cy="4072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US" sz="1600" dirty="0" err="1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huyết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uất</a:t>
            </a:r>
            <a:endParaRPr lang="en-US" sz="1600" dirty="0" smtClean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	1.1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. </a:t>
            </a:r>
            <a:r>
              <a:rPr lang="en-U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aussian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	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2. </a:t>
            </a:r>
            <a:r>
              <a:rPr lang="vi-VN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Ước lượng MLE cho phân phối Gaussian đa chiều</a:t>
            </a:r>
            <a:endParaRPr lang="en-US" sz="1600" dirty="0" smtClean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Gaussian 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ixture 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odel</a:t>
            </a:r>
          </a:p>
          <a:p>
            <a:pPr marL="457200" lvl="2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	</a:t>
            </a:r>
            <a:r>
              <a:rPr lang="vi-VN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1. Ước lượng hợp lý tối đa</a:t>
            </a:r>
            <a:endParaRPr lang="en-U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457200" lvl="2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	2.2. </a:t>
            </a:r>
            <a:r>
              <a:rPr lang="en-U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Khai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riển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àm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uxiliary</a:t>
            </a:r>
          </a:p>
          <a:p>
            <a:pPr marL="457200" lvl="2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	</a:t>
            </a:r>
            <a:r>
              <a:rPr lang="vi-VN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3. Các bước trong GMM</a:t>
            </a:r>
            <a:endParaRPr lang="en-U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457200" lvl="2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	2.4. K-Means VS Gaussian Mixture 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odel</a:t>
            </a:r>
            <a:endParaRPr lang="en-U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3. Deep </a:t>
            </a:r>
            <a:r>
              <a:rPr lang="en-US" sz="16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aussian Mixture 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odel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4. </a:t>
            </a:r>
            <a:r>
              <a:rPr lang="en-US" sz="1600" dirty="0" err="1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Ứng</a:t>
            </a:r>
            <a:r>
              <a:rPr lang="en-US" sz="1600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ụng</a:t>
            </a:r>
            <a:endParaRPr lang="en-US" sz="16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899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4.1.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Khuyến</a:t>
            </a:r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nghị</a:t>
            </a:r>
            <a:r>
              <a:rPr lang="vi-VN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latin typeface="Arial" panose="020B0604020202020204" pitchFamily="34" charset="0"/>
                <a:cs typeface="Arial" panose="020B0604020202020204" pitchFamily="34" charset="0"/>
              </a:rPr>
              <a:t>Rượu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Hộp Văn bản 9">
            <a:extLst>
              <a:ext uri="{FF2B5EF4-FFF2-40B4-BE49-F238E27FC236}">
                <a16:creationId xmlns:a16="http://schemas.microsoft.com/office/drawing/2014/main" id="{F42D276F-CBA2-4993-A439-624893F810CD}"/>
              </a:ext>
            </a:extLst>
          </p:cNvPr>
          <p:cNvSpPr txBox="1"/>
          <p:nvPr/>
        </p:nvSpPr>
        <p:spPr>
          <a:xfrm>
            <a:off x="827690" y="1351873"/>
            <a:ext cx="5917668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>
                <a:solidFill>
                  <a:schemeClr val="tx2"/>
                </a:solidFill>
                <a:latin typeface="+mj-lt"/>
              </a:rPr>
              <a:t>Bộ dataset gồm 19 thuộc tính như tên rượu,thương hiệu rượu, năm sản xuất, ảnh rượu, tags về mùi vị của rượu, 6 chỉ số về rượu (f1,f2,...,f6) biểu diễn cho fruity, mellow, rich, mild, dry và light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.</a:t>
            </a:r>
            <a:endParaRPr lang="en-US" sz="1400" dirty="0" smtClean="0">
              <a:solidFill>
                <a:schemeClr val="tx2"/>
              </a:solidFill>
              <a:latin typeface="+mj-lt"/>
            </a:endParaRPr>
          </a:p>
          <a:p>
            <a:endParaRPr lang="en-US" sz="1400" dirty="0">
              <a:solidFill>
                <a:schemeClr val="tx2"/>
              </a:solidFill>
              <a:latin typeface="+mj-lt"/>
            </a:endParaRPr>
          </a:p>
          <a:p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Khuyế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ghị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heo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content-base</a:t>
            </a:r>
          </a:p>
          <a:p>
            <a:endParaRPr lang="en-US" sz="1400" dirty="0">
              <a:solidFill>
                <a:schemeClr val="tx2"/>
              </a:solidFill>
              <a:latin typeface="+mj-lt"/>
            </a:endParaRPr>
          </a:p>
          <a:p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ử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dụ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GMM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ác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bả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gh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hàn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k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</a:p>
          <a:p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â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ả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ẩ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dựa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heo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â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ố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ủa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6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hỉ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ố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mù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vị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,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ữ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ả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ẩ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ó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ù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â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phố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6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hỉ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ố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ẽ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ù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vớ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au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.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  <a:p>
            <a:endParaRPr lang="en-US" sz="1400" dirty="0" smtClean="0">
              <a:solidFill>
                <a:schemeClr val="tx2"/>
              </a:solidFill>
              <a:latin typeface="+mj-lt"/>
            </a:endParaRPr>
          </a:p>
          <a:p>
            <a:r>
              <a:rPr lang="en-US" sz="1400" dirty="0" smtClean="0">
                <a:solidFill>
                  <a:schemeClr val="tx2"/>
                </a:solidFill>
                <a:latin typeface="+mj-lt"/>
              </a:rPr>
              <a:t>-&gt;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ắp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xếp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kết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quả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ở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mỗ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vớ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ừ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bả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gh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ở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ừ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vớ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độ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ươ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đồ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như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Cosine hay Euclidean</a:t>
            </a:r>
          </a:p>
          <a:p>
            <a:endParaRPr lang="en-US" sz="1400" dirty="0">
              <a:solidFill>
                <a:schemeClr val="tx2"/>
              </a:solidFill>
              <a:latin typeface="+mj-lt"/>
            </a:endParaRPr>
          </a:p>
          <a:p>
            <a:endParaRPr lang="en-US" sz="1400" dirty="0" smtClean="0">
              <a:solidFill>
                <a:schemeClr val="tx2"/>
              </a:solidFill>
              <a:latin typeface="+mj-lt"/>
            </a:endParaRPr>
          </a:p>
          <a:p>
            <a:endParaRPr lang="en-US" sz="1400" dirty="0">
              <a:solidFill>
                <a:schemeClr val="tx2"/>
              </a:solidFill>
              <a:latin typeface="+mj-lt"/>
            </a:endParaRPr>
          </a:p>
          <a:p>
            <a:endParaRPr lang="vi-VN" sz="14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5" name="Hình ảnh 4">
            <a:extLst>
              <a:ext uri="{FF2B5EF4-FFF2-40B4-BE49-F238E27FC236}">
                <a16:creationId xmlns:a16="http://schemas.microsoft.com/office/drawing/2014/main" id="{1CDC6422-151D-45C9-869A-AC1034B47D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63655" y="532577"/>
            <a:ext cx="2876951" cy="280074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01389" y="4665448"/>
            <a:ext cx="2611645" cy="59111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01389" y="5582334"/>
            <a:ext cx="2124390" cy="59812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27690" y="4097802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+mj-lt"/>
              </a:rPr>
              <a:t>-&gt;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ử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dụng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hàm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Gaussian Filter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để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sắp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xếp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sản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phẩm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:</a:t>
            </a:r>
          </a:p>
          <a:p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41755" y="4492424"/>
            <a:ext cx="6096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  <a:latin typeface="+mj-lt"/>
              </a:rPr>
              <a:t>Với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f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là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chỉ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số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mùi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vị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  <a:p>
            <a:r>
              <a:rPr lang="el-GR" sz="1400" dirty="0" smtClean="0">
                <a:solidFill>
                  <a:schemeClr val="tx2"/>
                </a:solidFill>
                <a:latin typeface="+mj-lt"/>
              </a:rPr>
              <a:t>σ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kl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là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độ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lệc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huẩn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của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giá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trị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chemeClr val="tx2"/>
                </a:solidFill>
                <a:latin typeface="+mj-lt"/>
              </a:rPr>
              <a:t>chỉ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số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f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hứ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l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trong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+mj-lt"/>
              </a:rPr>
              <a:t>cụ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k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  <a:p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41755" y="5300592"/>
            <a:ext cx="511493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vi-VN" sz="1400" dirty="0" smtClean="0">
                <a:solidFill>
                  <a:schemeClr val="tx2"/>
                </a:solidFill>
                <a:latin typeface="+mj-lt"/>
              </a:rPr>
              <a:t>Nk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là 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số lượng các sản phẩm thuộc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cụ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k,</a:t>
            </a:r>
            <a:endParaRPr lang="en-US" sz="1400" dirty="0" smtClean="0">
              <a:solidFill>
                <a:schemeClr val="tx2"/>
              </a:solidFill>
              <a:latin typeface="+mj-lt"/>
            </a:endParaRPr>
          </a:p>
          <a:p>
            <a:r>
              <a:rPr lang="vi-VN" sz="1400" dirty="0" smtClean="0">
                <a:solidFill>
                  <a:schemeClr val="tx2"/>
                </a:solidFill>
                <a:latin typeface="+mj-lt"/>
              </a:rPr>
              <a:t>Filk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là 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iá trị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hứ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l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của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f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rong 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6 chỉ số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mù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vị 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của sản phẩm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hứ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400" dirty="0">
                <a:solidFill>
                  <a:schemeClr val="tx2"/>
                </a:solidFill>
                <a:latin typeface="+mj-lt"/>
              </a:rPr>
              <a:t>i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rong cụ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k</a:t>
            </a:r>
            <a:endParaRPr lang="en-US" sz="1400" dirty="0" smtClean="0">
              <a:solidFill>
                <a:schemeClr val="tx2"/>
              </a:solidFill>
              <a:latin typeface="+mj-lt"/>
            </a:endParaRPr>
          </a:p>
          <a:p>
            <a:r>
              <a:rPr lang="el-GR" sz="1400" dirty="0" smtClean="0">
                <a:solidFill>
                  <a:schemeClr val="tx2"/>
                </a:solidFill>
                <a:latin typeface="+mj-lt"/>
              </a:rPr>
              <a:t>μ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l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à 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giá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rị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rung 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bình thuộc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ín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fl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trong nhóm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smtClean="0">
                <a:solidFill>
                  <a:schemeClr val="tx2"/>
                </a:solidFill>
                <a:latin typeface="+mj-lt"/>
              </a:rPr>
              <a:t>k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897586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4B4F600-206C-422A-8AB2-4A6577BECB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A2F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2218315-D0AB-4776-A601-90394F6876FA}"/>
              </a:ext>
            </a:extLst>
          </p:cNvPr>
          <p:cNvCxnSpPr/>
          <p:nvPr/>
        </p:nvCxnSpPr>
        <p:spPr>
          <a:xfrm>
            <a:off x="11049000" y="1282700"/>
            <a:ext cx="0" cy="4292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5570A0-9CE8-466E-8836-69B22DE83C7E}"/>
              </a:ext>
            </a:extLst>
          </p:cNvPr>
          <p:cNvCxnSpPr/>
          <p:nvPr/>
        </p:nvCxnSpPr>
        <p:spPr>
          <a:xfrm>
            <a:off x="1143000" y="1282700"/>
            <a:ext cx="0" cy="4292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/>
          <p:cNvSpPr txBox="1">
            <a:spLocks/>
          </p:cNvSpPr>
          <p:nvPr/>
        </p:nvSpPr>
        <p:spPr>
          <a:xfrm>
            <a:off x="1454150" y="2888280"/>
            <a:ext cx="9283700" cy="83306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HANK YOU &lt;3 </a:t>
            </a:r>
          </a:p>
        </p:txBody>
      </p:sp>
    </p:spTree>
    <p:extLst>
      <p:ext uri="{BB962C8B-B14F-4D97-AF65-F5344CB8AC3E}">
        <p14:creationId xmlns:p14="http://schemas.microsoft.com/office/powerpoint/2010/main" val="2600580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2702" y="6495359"/>
            <a:ext cx="868543" cy="31174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" y="2287908"/>
            <a:ext cx="3512171" cy="592901"/>
            <a:chOff x="661619" y="360328"/>
            <a:chExt cx="5268256" cy="88935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695" y="360329"/>
              <a:ext cx="4541343" cy="889351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038" y="360328"/>
              <a:ext cx="379837" cy="889352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19" y="360329"/>
              <a:ext cx="365239" cy="889351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901930"/>
            <a:ext cx="7903181" cy="122625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3494" y="3136612"/>
            <a:ext cx="7586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ý</a:t>
            </a:r>
            <a:r>
              <a:rPr lang="en-US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uyết</a:t>
            </a:r>
            <a:r>
              <a:rPr lang="en-US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ác</a:t>
            </a:r>
            <a:r>
              <a:rPr lang="en-US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ất</a:t>
            </a:r>
            <a:endParaRPr lang="en-US" sz="3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" y="2388368"/>
            <a:ext cx="351217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33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ẦN 1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63535" y="4123108"/>
            <a:ext cx="1136816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67" i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6416090"/>
            <a:ext cx="12192000" cy="441905"/>
            <a:chOff x="0" y="4812071"/>
            <a:chExt cx="9144000" cy="331429"/>
          </a:xfrm>
        </p:grpSpPr>
        <p:grpSp>
          <p:nvGrpSpPr>
            <p:cNvPr id="2" name="Group 1"/>
            <p:cNvGrpSpPr/>
            <p:nvPr/>
          </p:nvGrpSpPr>
          <p:grpSpPr>
            <a:xfrm>
              <a:off x="0" y="4812071"/>
              <a:ext cx="9144000" cy="331429"/>
              <a:chOff x="0" y="4812071"/>
              <a:chExt cx="9144000" cy="331429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4812071"/>
                <a:ext cx="9144000" cy="331429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374649" y="4889882"/>
                <a:ext cx="2006241" cy="1924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67" spc="400">
                    <a:solidFill>
                      <a:srgbClr val="B4B4B4"/>
                    </a:solidFill>
                    <a:latin typeface="FS PF BeauSans Pro Light" panose="02000500000000020004" pitchFamily="2" charset="0"/>
                  </a:rPr>
                  <a:t>www.viette.vn</a:t>
                </a:r>
                <a:endParaRPr lang="en-US" sz="1067" spc="400" dirty="0">
                  <a:solidFill>
                    <a:srgbClr val="B4B4B4"/>
                  </a:solidFill>
                  <a:latin typeface="FS PF BeauSans Pro Light" panose="02000500000000020004" pitchFamily="2" charset="0"/>
                </a:endParaRPr>
              </a:p>
            </p:txBody>
          </p:sp>
        </p:grp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4010" y="4887636"/>
              <a:ext cx="716032" cy="15768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.1.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hâ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hố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Gaussia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F4D8C062-E274-4B96-9623-6CBA12B3F64D}"/>
              </a:ext>
            </a:extLst>
          </p:cNvPr>
          <p:cNvSpPr/>
          <p:nvPr/>
        </p:nvSpPr>
        <p:spPr>
          <a:xfrm>
            <a:off x="827690" y="1395714"/>
            <a:ext cx="7444508" cy="3801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àm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ật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ộ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ân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aussian (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uẩn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) :  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72102650-D528-4881-8A96-15B0A286A1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8092" y="1946869"/>
            <a:ext cx="4513905" cy="2968201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74D1AB35-A3AA-4DD5-9D6E-E7CA7F1AFD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9824" y="1855844"/>
            <a:ext cx="5266176" cy="1316544"/>
          </a:xfrm>
          <a:prstGeom prst="rect">
            <a:avLst/>
          </a:prstGeom>
        </p:spPr>
      </p:pic>
      <p:sp>
        <p:nvSpPr>
          <p:cNvPr id="14" name="Rectangle 31">
            <a:extLst>
              <a:ext uri="{FF2B5EF4-FFF2-40B4-BE49-F238E27FC236}">
                <a16:creationId xmlns:a16="http://schemas.microsoft.com/office/drawing/2014/main" id="{722964A5-AA8D-4C13-8FBD-36ABFE3F947B}"/>
              </a:ext>
            </a:extLst>
          </p:cNvPr>
          <p:cNvSpPr/>
          <p:nvPr/>
        </p:nvSpPr>
        <p:spPr>
          <a:xfrm>
            <a:off x="827690" y="3424962"/>
            <a:ext cx="7444508" cy="14393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ặ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ư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ở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ỳ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ọ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à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ươ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ai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ươ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áp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MLE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ù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iế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x: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3BE03589-CA60-41DE-B4E0-DF6CDB9BE9B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34405" y="4376654"/>
            <a:ext cx="1057103" cy="436935"/>
          </a:xfrm>
          <a:prstGeom prst="rect">
            <a:avLst/>
          </a:prstGeom>
        </p:spPr>
      </p:pic>
      <p:pic>
        <p:nvPicPr>
          <p:cNvPr id="5" name="Hình ảnh 4">
            <a:extLst>
              <a:ext uri="{FF2B5EF4-FFF2-40B4-BE49-F238E27FC236}">
                <a16:creationId xmlns:a16="http://schemas.microsoft.com/office/drawing/2014/main" id="{8AA94347-09B4-4636-8677-EC2E5F5DD3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34405" y="4915070"/>
            <a:ext cx="1435459" cy="395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990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.1.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hâ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hố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Gaussia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12120967-91CD-4C68-8D7C-78C57112F1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8635" y="1127977"/>
            <a:ext cx="3495675" cy="3771900"/>
          </a:xfrm>
          <a:prstGeom prst="rect">
            <a:avLst/>
          </a:prstGeom>
        </p:spPr>
      </p:pic>
      <p:sp>
        <p:nvSpPr>
          <p:cNvPr id="13" name="Rectangle 31">
            <a:extLst>
              <a:ext uri="{FF2B5EF4-FFF2-40B4-BE49-F238E27FC236}">
                <a16:creationId xmlns:a16="http://schemas.microsoft.com/office/drawing/2014/main" id="{807F9B09-6DBD-4E23-B5EC-9BE566354676}"/>
              </a:ext>
            </a:extLst>
          </p:cNvPr>
          <p:cNvSpPr/>
          <p:nvPr/>
        </p:nvSpPr>
        <p:spPr>
          <a:xfrm>
            <a:off x="827690" y="1395714"/>
            <a:ext cx="7444508" cy="4029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aussian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a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à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ậ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ộ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o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hô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a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d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baseline="0" noProof="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baseline="0" noProof="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baseline="0" noProof="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am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</a:t>
            </a:r>
          </a:p>
          <a:p>
            <a:pPr marL="742950" lvl="2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el-GR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μ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vector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ỳ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ọng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baseline="0" noProof="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en-US" sz="1400" baseline="0" noProof="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x </a:t>
            </a:r>
          </a:p>
          <a:p>
            <a:pPr marL="742950" lvl="2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en-US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Σ: 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 </a:t>
            </a:r>
            <a:r>
              <a:rPr lang="vi-VN" sz="1400" dirty="0" err="1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ận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vi-VN" sz="1400" dirty="0" err="1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iệp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hương sai </a:t>
            </a:r>
            <a:r>
              <a:rPr lang="vi-VN" sz="1400" dirty="0" err="1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ủa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vi-VN" sz="1400" dirty="0" err="1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ector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vi-VN" sz="1400" dirty="0" err="1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gầu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nhiên x = (x1, x2,…, </a:t>
            </a:r>
            <a:r>
              <a:rPr lang="vi-VN" sz="1400" dirty="0" err="1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d</a:t>
            </a:r>
            <a:r>
              <a:rPr lang="vi-VN" sz="1400" dirty="0">
                <a:solidFill>
                  <a:srgbClr val="333333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endParaRPr lang="en-US" sz="1400" baseline="0" noProof="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742950" lvl="2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baseline="0" noProof="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C686B19D-08DC-4629-8DD3-2C3BD1D4DD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2978" y="2215319"/>
            <a:ext cx="6393221" cy="986383"/>
          </a:xfrm>
          <a:prstGeom prst="rect">
            <a:avLst/>
          </a:prstGeom>
        </p:spPr>
      </p:pic>
      <p:pic>
        <p:nvPicPr>
          <p:cNvPr id="14" name="Hình ảnh 13">
            <a:extLst>
              <a:ext uri="{FF2B5EF4-FFF2-40B4-BE49-F238E27FC236}">
                <a16:creationId xmlns:a16="http://schemas.microsoft.com/office/drawing/2014/main" id="{D7DD53FE-A3CC-4699-B486-A667833E339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2978" y="3062236"/>
            <a:ext cx="4534533" cy="733527"/>
          </a:xfrm>
          <a:prstGeom prst="rect">
            <a:avLst/>
          </a:prstGeom>
        </p:spPr>
      </p:pic>
      <p:pic>
        <p:nvPicPr>
          <p:cNvPr id="19" name="Hình ảnh 18">
            <a:extLst>
              <a:ext uri="{FF2B5EF4-FFF2-40B4-BE49-F238E27FC236}">
                <a16:creationId xmlns:a16="http://schemas.microsoft.com/office/drawing/2014/main" id="{B88863D0-978E-443B-B744-4E7C0FE1FAE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69145" y="5113999"/>
            <a:ext cx="762106" cy="333422"/>
          </a:xfrm>
          <a:prstGeom prst="rect">
            <a:avLst/>
          </a:prstGeom>
        </p:spPr>
      </p:pic>
      <p:pic>
        <p:nvPicPr>
          <p:cNvPr id="21" name="Hình ảnh 20">
            <a:extLst>
              <a:ext uri="{FF2B5EF4-FFF2-40B4-BE49-F238E27FC236}">
                <a16:creationId xmlns:a16="http://schemas.microsoft.com/office/drawing/2014/main" id="{1C31DF04-5DE8-4A33-84DD-1D12CCEDA91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75525" y="5028262"/>
            <a:ext cx="981212" cy="504895"/>
          </a:xfrm>
          <a:prstGeom prst="rect">
            <a:avLst/>
          </a:prstGeom>
        </p:spPr>
      </p:pic>
      <p:pic>
        <p:nvPicPr>
          <p:cNvPr id="24" name="Picture 7">
            <a:extLst>
              <a:ext uri="{FF2B5EF4-FFF2-40B4-BE49-F238E27FC236}">
                <a16:creationId xmlns:a16="http://schemas.microsoft.com/office/drawing/2014/main" id="{BD30029B-4BA1-4D11-8312-0AF12CD262D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57363" y="5033059"/>
            <a:ext cx="2562225" cy="49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04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.2.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Ước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ượng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LE cho phân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ối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ussian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đa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iều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F4D8C062-E274-4B96-9623-6CBA12B3F64D}"/>
              </a:ext>
            </a:extLst>
          </p:cNvPr>
          <p:cNvSpPr/>
          <p:nvPr/>
        </p:nvSpPr>
        <p:spPr>
          <a:xfrm>
            <a:off x="827689" y="1395714"/>
            <a:ext cx="7741879" cy="735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ộ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D={x1,x2.…,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} 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x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1 vector d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u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eo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aussian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-&gt;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ầ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ông qu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đa MLE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ể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hớp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ộ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ấ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68B300A0-9961-4317-A9CD-DA6E134384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21231" y="2268964"/>
            <a:ext cx="3471756" cy="735651"/>
          </a:xfrm>
          <a:prstGeom prst="rect">
            <a:avLst/>
          </a:prstGeom>
        </p:spPr>
      </p:pic>
      <p:pic>
        <p:nvPicPr>
          <p:cNvPr id="13" name="Hình ảnh 12">
            <a:extLst>
              <a:ext uri="{FF2B5EF4-FFF2-40B4-BE49-F238E27FC236}">
                <a16:creationId xmlns:a16="http://schemas.microsoft.com/office/drawing/2014/main" id="{724CF89F-5161-4DE7-8E27-BEDE011D65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3147" y="2211326"/>
            <a:ext cx="3877216" cy="762106"/>
          </a:xfrm>
          <a:prstGeom prst="rect">
            <a:avLst/>
          </a:prstGeom>
        </p:spPr>
      </p:pic>
      <p:sp>
        <p:nvSpPr>
          <p:cNvPr id="23" name="Hộp Văn bản 22">
            <a:extLst>
              <a:ext uri="{FF2B5EF4-FFF2-40B4-BE49-F238E27FC236}">
                <a16:creationId xmlns:a16="http://schemas.microsoft.com/office/drawing/2014/main" id="{2FE8D491-DE0A-4F8D-993E-2A229A18C912}"/>
              </a:ext>
            </a:extLst>
          </p:cNvPr>
          <p:cNvSpPr txBox="1"/>
          <p:nvPr/>
        </p:nvSpPr>
        <p:spPr>
          <a:xfrm>
            <a:off x="827689" y="3359091"/>
            <a:ext cx="61018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sz="1400" dirty="0" err="1">
                <a:solidFill>
                  <a:schemeClr val="tx2"/>
                </a:solidFill>
                <a:latin typeface="+mj-lt"/>
              </a:rPr>
              <a:t>Lấy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đạo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hàm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bậc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nhất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theo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μ  </a:t>
            </a:r>
            <a:r>
              <a:rPr lang="vi-VN" sz="1400" dirty="0" err="1">
                <a:solidFill>
                  <a:schemeClr val="tx2"/>
                </a:solidFill>
                <a:latin typeface="+mj-lt"/>
              </a:rPr>
              <a:t>và</a:t>
            </a:r>
            <a:r>
              <a:rPr lang="vi-VN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el-GR" sz="1400" dirty="0">
                <a:solidFill>
                  <a:schemeClr val="tx2"/>
                </a:solidFill>
                <a:latin typeface="+mj-lt"/>
              </a:rPr>
              <a:t>Σ</a:t>
            </a:r>
            <a:endParaRPr lang="vi-VN" sz="14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24" name="Picture 11">
            <a:extLst>
              <a:ext uri="{FF2B5EF4-FFF2-40B4-BE49-F238E27FC236}">
                <a16:creationId xmlns:a16="http://schemas.microsoft.com/office/drawing/2014/main" id="{5D9CF4F7-81B3-4BB3-8CE8-FA5C9A72F6F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21231" y="3959469"/>
            <a:ext cx="3499706" cy="996680"/>
          </a:xfrm>
          <a:prstGeom prst="rect">
            <a:avLst/>
          </a:prstGeom>
        </p:spPr>
      </p:pic>
      <p:pic>
        <p:nvPicPr>
          <p:cNvPr id="25" name="Hình ảnh 24">
            <a:extLst>
              <a:ext uri="{FF2B5EF4-FFF2-40B4-BE49-F238E27FC236}">
                <a16:creationId xmlns:a16="http://schemas.microsoft.com/office/drawing/2014/main" id="{18E8162F-C375-4723-85BE-B61FA91C34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71065" y="3004615"/>
            <a:ext cx="3867690" cy="234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891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2702" y="6495359"/>
            <a:ext cx="868543" cy="31174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" y="2287908"/>
            <a:ext cx="3512171" cy="592901"/>
            <a:chOff x="661619" y="360328"/>
            <a:chExt cx="5268256" cy="88935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695" y="360329"/>
              <a:ext cx="4541343" cy="889351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0038" y="360328"/>
              <a:ext cx="379837" cy="889352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619" y="360329"/>
              <a:ext cx="365239" cy="889351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2901930"/>
            <a:ext cx="7903181" cy="122625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3494" y="3136612"/>
            <a:ext cx="7586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ussian Mixture Model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" y="2388368"/>
            <a:ext cx="351217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33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ẦN 2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63535" y="4123108"/>
            <a:ext cx="1136816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67" i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6416090"/>
            <a:ext cx="12192000" cy="441905"/>
            <a:chOff x="0" y="4812071"/>
            <a:chExt cx="9144000" cy="331429"/>
          </a:xfrm>
        </p:grpSpPr>
        <p:grpSp>
          <p:nvGrpSpPr>
            <p:cNvPr id="2" name="Group 1"/>
            <p:cNvGrpSpPr/>
            <p:nvPr/>
          </p:nvGrpSpPr>
          <p:grpSpPr>
            <a:xfrm>
              <a:off x="0" y="4812071"/>
              <a:ext cx="9144000" cy="331429"/>
              <a:chOff x="0" y="4812071"/>
              <a:chExt cx="9144000" cy="331429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4812071"/>
                <a:ext cx="9144000" cy="331429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374649" y="4889882"/>
                <a:ext cx="2006241" cy="1924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67" spc="400">
                    <a:solidFill>
                      <a:srgbClr val="B4B4B4"/>
                    </a:solidFill>
                    <a:latin typeface="FS PF BeauSans Pro Light" panose="02000500000000020004" pitchFamily="2" charset="0"/>
                  </a:rPr>
                  <a:t>www.viette.vn</a:t>
                </a:r>
                <a:endParaRPr lang="en-US" sz="1067" spc="400" dirty="0">
                  <a:solidFill>
                    <a:srgbClr val="B4B4B4"/>
                  </a:solidFill>
                  <a:latin typeface="FS PF BeauSans Pro Light" panose="02000500000000020004" pitchFamily="2" charset="0"/>
                </a:endParaRPr>
              </a:p>
            </p:txBody>
          </p:sp>
        </p:grp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4010" y="4887636"/>
              <a:ext cx="716032" cy="1576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1001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ussian Mixture Model</a:t>
            </a:r>
            <a:b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F4D8C062-E274-4B96-9623-6CBA12B3F64D}"/>
              </a:ext>
            </a:extLst>
          </p:cNvPr>
          <p:cNvSpPr/>
          <p:nvPr/>
        </p:nvSpPr>
        <p:spPr>
          <a:xfrm>
            <a:off x="827690" y="1395714"/>
            <a:ext cx="6262224" cy="4800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ô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ình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333333"/>
                </a:solidFill>
                <a:latin typeface="+mj-lt"/>
                <a:cs typeface="Arial" panose="020B0604020202020204" pitchFamily="34" charset="0"/>
              </a:rPr>
              <a:t>l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ớp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bài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toán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học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không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giám</a:t>
            </a:r>
            <a:r>
              <a:rPr lang="vi-VN" sz="1400" b="0" i="0" dirty="0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 </a:t>
            </a:r>
            <a:r>
              <a:rPr lang="vi-VN" sz="1400" b="0" i="0" dirty="0" err="1">
                <a:solidFill>
                  <a:srgbClr val="333333"/>
                </a:solidFill>
                <a:effectLst/>
                <a:latin typeface="Lato" panose="020F0502020204030203" pitchFamily="34" charset="0"/>
              </a:rPr>
              <a:t>sát</a:t>
            </a:r>
            <a:endParaRPr lang="vi-VN" sz="1400" b="0" i="0" dirty="0">
              <a:solidFill>
                <a:srgbClr val="333333"/>
              </a:solidFill>
              <a:effectLst/>
              <a:latin typeface="Lato" panose="020F0502020204030203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ả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ịnh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ỗ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â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aussian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ục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iê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ô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ình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MM: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ù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ấ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cho k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ông qua phương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á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đa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ó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k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ầ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chi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ỗ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uân theo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aussia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đ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iều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ậ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ặ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rưng 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zk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ộ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iế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gẫu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nhiê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ằ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1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ếu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x rơi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ào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ứ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k,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ườ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ò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ạ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ậ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á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ị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0.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zk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ộ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iế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ẩ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chư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iế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á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ị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.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ảy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r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(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zk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=1|x)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ú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ú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ịnh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.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ậ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á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ị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zk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ẽ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ạo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ành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ộ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(</a:t>
            </a:r>
            <a:r>
              <a:rPr lang="el-GR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π1,π2,…,π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) trong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ó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l-GR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π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=p(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zk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=1|x).</a:t>
            </a:r>
          </a:p>
          <a:p>
            <a:pPr marL="285750" lvl="1" indent="-285750" algn="just" defTabSz="711200">
              <a:lnSpc>
                <a:spcPct val="150000"/>
              </a:lnSpc>
              <a:spcAft>
                <a:spcPct val="15000"/>
              </a:spcAft>
              <a:buFontTx/>
              <a:buChar char="-"/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2" name="Picture 13">
            <a:extLst>
              <a:ext uri="{FF2B5EF4-FFF2-40B4-BE49-F238E27FC236}">
                <a16:creationId xmlns:a16="http://schemas.microsoft.com/office/drawing/2014/main" id="{0426A889-190C-4D77-B1E8-199E1CEBCC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70963" y="590968"/>
            <a:ext cx="4619469" cy="3204890"/>
          </a:xfrm>
          <a:prstGeom prst="rect">
            <a:avLst/>
          </a:prstGeom>
        </p:spPr>
      </p:pic>
      <p:pic>
        <p:nvPicPr>
          <p:cNvPr id="8" name="Picture 15">
            <a:extLst>
              <a:ext uri="{FF2B5EF4-FFF2-40B4-BE49-F238E27FC236}">
                <a16:creationId xmlns:a16="http://schemas.microsoft.com/office/drawing/2014/main" id="{47976016-4E7B-4731-B0A6-9243DA49D8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18260" y="3858380"/>
            <a:ext cx="4924874" cy="257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759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6" imgW="319" imgH="319" progId="TCLayout.ActiveDocument.1">
                  <p:embed/>
                </p:oleObj>
              </mc:Choice>
              <mc:Fallback>
                <p:oleObj name="think-cell Slide" r:id="rId6" imgW="319" imgH="31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09C52B5-3417-477A-A8C2-63250B52B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690" y="653490"/>
            <a:ext cx="10538460" cy="333124"/>
          </a:xfrm>
        </p:spPr>
        <p:txBody>
          <a:bodyPr lIns="0" tIns="0" rIns="0" bIns="0" anchor="t" anchorCtr="0"/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.1.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Ước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ượng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ợp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ý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vi-VN" sz="2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ối</a:t>
            </a:r>
            <a:r>
              <a:rPr lang="vi-VN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đa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08739" y="940201"/>
            <a:ext cx="10666032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 lvl="1" indent="-1371600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F4D8C062-E274-4B96-9623-6CBA12B3F64D}"/>
              </a:ext>
            </a:extLst>
          </p:cNvPr>
          <p:cNvSpPr/>
          <p:nvPr/>
        </p:nvSpPr>
        <p:spPr>
          <a:xfrm>
            <a:off x="827690" y="1395714"/>
            <a:ext cx="4870746" cy="1058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ộ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D={x1,x2.…,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}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-&gt;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ầ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đ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l-GR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θ 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ao cho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ớ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mô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ình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ượ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ả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ịnh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GM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khớ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ấ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ộ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. </a:t>
            </a: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69563A6D-81D1-4A04-9E59-FDA5AC572A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8739" y="2624345"/>
            <a:ext cx="3846912" cy="804655"/>
          </a:xfrm>
          <a:prstGeom prst="rect">
            <a:avLst/>
          </a:prstGeom>
        </p:spPr>
      </p:pic>
      <p:sp>
        <p:nvSpPr>
          <p:cNvPr id="15" name="Rectangle 31">
            <a:extLst>
              <a:ext uri="{FF2B5EF4-FFF2-40B4-BE49-F238E27FC236}">
                <a16:creationId xmlns:a16="http://schemas.microsoft.com/office/drawing/2014/main" id="{8A850471-6DF3-4992-BB4A-A49B09A40304}"/>
              </a:ext>
            </a:extLst>
          </p:cNvPr>
          <p:cNvSpPr/>
          <p:nvPr/>
        </p:nvSpPr>
        <p:spPr>
          <a:xfrm>
            <a:off x="751113" y="3523685"/>
            <a:ext cx="8409075" cy="27643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ử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ụng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uật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oán</a:t>
            </a: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EM (Expectation-Maximization):</a:t>
            </a:r>
          </a:p>
          <a:p>
            <a:pPr marL="342900" lvl="1" indent="-342900" algn="just" defTabSz="711200">
              <a:lnSpc>
                <a:spcPct val="150000"/>
              </a:lnSpc>
              <a:spcAft>
                <a:spcPct val="15000"/>
              </a:spcAft>
              <a:buAutoNum type="arabicPeriod"/>
              <a:defRPr/>
            </a:pP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E-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te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Ướ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ượ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iế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ẩ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z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ể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iệ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ương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ứ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ộ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. </a:t>
            </a:r>
          </a:p>
          <a:p>
            <a:pPr marL="342900" lvl="1" indent="-342900" algn="just" defTabSz="711200">
              <a:lnSpc>
                <a:spcPct val="150000"/>
              </a:lnSpc>
              <a:spcAft>
                <a:spcPct val="15000"/>
              </a:spcAft>
              <a:buAutoNum type="arabicPeriod"/>
              <a:defRPr/>
            </a:pP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-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te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: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đ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oá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x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uấ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ồ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ờ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(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joi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istributio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robability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)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ữ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iệu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iế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ẩ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. Ở đây tham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số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trung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bình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á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ượ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ậ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hậ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ạ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ồng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nghĩ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ớ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iệ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dịch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huyể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sao cho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iá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rị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ợp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ủa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lý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uyết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đượ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đa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hoá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và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iế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gần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ớ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phân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phố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thực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ở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mỗi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vi-VN" sz="1400" dirty="0" err="1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cụm</a:t>
            </a:r>
            <a:r>
              <a:rPr lang="vi-VN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.</a:t>
            </a: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endParaRPr lang="en-US" sz="1400" dirty="0">
              <a:solidFill>
                <a:srgbClr val="262626"/>
              </a:solidFill>
              <a:latin typeface="+mj-lt"/>
              <a:cs typeface="Arial" panose="020B0604020202020204" pitchFamily="34" charset="0"/>
            </a:endParaRPr>
          </a:p>
          <a:p>
            <a:pPr marL="0" lvl="1" algn="just" defTabSz="711200">
              <a:lnSpc>
                <a:spcPct val="150000"/>
              </a:lnSpc>
              <a:spcAft>
                <a:spcPct val="15000"/>
              </a:spcAft>
              <a:defRPr/>
            </a:pPr>
            <a:r>
              <a:rPr lang="en-US" sz="1400" dirty="0">
                <a:solidFill>
                  <a:srgbClr val="262626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0685A5BE-8FD1-450D-A2D6-5F92786E25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98436" y="1021490"/>
            <a:ext cx="6068272" cy="246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512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heIRuU6RPtDs8VDhV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6">
      <a:dk1>
        <a:srgbClr val="939393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262626"/>
      </a:accent2>
      <a:accent3>
        <a:srgbClr val="FF0909"/>
      </a:accent3>
      <a:accent4>
        <a:srgbClr val="393939"/>
      </a:accent4>
      <a:accent5>
        <a:srgbClr val="D20000"/>
      </a:accent5>
      <a:accent6>
        <a:srgbClr val="929292"/>
      </a:accent6>
      <a:hlink>
        <a:srgbClr val="FF0101"/>
      </a:hlink>
      <a:folHlink>
        <a:srgbClr val="B00000"/>
      </a:folHlink>
    </a:clrScheme>
    <a:fontScheme name="Lato (Body)">
      <a:majorFont>
        <a:latin typeface="Lato (Body)"/>
        <a:ea typeface=""/>
        <a:cs typeface=""/>
      </a:majorFont>
      <a:minorFont>
        <a:latin typeface="Lato (Body)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04</TotalTime>
  <Words>1655</Words>
  <Application>Microsoft Office PowerPoint</Application>
  <PresentationFormat>Widescreen</PresentationFormat>
  <Paragraphs>163</Paragraphs>
  <Slides>21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bel</vt:lpstr>
      <vt:lpstr>Arial</vt:lpstr>
      <vt:lpstr>Calibri</vt:lpstr>
      <vt:lpstr>FS PF BeauSans Pro Light</vt:lpstr>
      <vt:lpstr>Lato</vt:lpstr>
      <vt:lpstr>Lato (Body)</vt:lpstr>
      <vt:lpstr>Lato Black</vt:lpstr>
      <vt:lpstr>Open Sans</vt:lpstr>
      <vt:lpstr>Open Sans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1.1. Phân phối Gaussian</vt:lpstr>
      <vt:lpstr>1.1. Phân phối Gaussian</vt:lpstr>
      <vt:lpstr>1.2. Ước lượng MLE cho phân phối Gaussian đa chiều</vt:lpstr>
      <vt:lpstr>PowerPoint Presentation</vt:lpstr>
      <vt:lpstr>2. Gaussian Mixture Model </vt:lpstr>
      <vt:lpstr>2.1. Ước lượng hợp lý tối đa</vt:lpstr>
      <vt:lpstr>2.2. Khai triển hàm auxilary</vt:lpstr>
      <vt:lpstr>2.3. Các bước trong GMM</vt:lpstr>
      <vt:lpstr>2.3. Các bước trong GMM</vt:lpstr>
      <vt:lpstr>2.4. K-Means VS Gaussian Mixture Model</vt:lpstr>
      <vt:lpstr>PowerPoint Presentation</vt:lpstr>
      <vt:lpstr>3.1. Mixture of Factor Analysers</vt:lpstr>
      <vt:lpstr>3.2. Deep Gaussian Mixture Models </vt:lpstr>
      <vt:lpstr>PowerPoint Presentation</vt:lpstr>
      <vt:lpstr>4. Ứng dụng</vt:lpstr>
      <vt:lpstr>4. Ứng dụng</vt:lpstr>
      <vt:lpstr>4.1. Khuyến nghị Rượ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entt32</dc:creator>
  <cp:lastModifiedBy>cntt_manhnd</cp:lastModifiedBy>
  <cp:revision>2672</cp:revision>
  <dcterms:created xsi:type="dcterms:W3CDTF">2015-02-03T13:50:57Z</dcterms:created>
  <dcterms:modified xsi:type="dcterms:W3CDTF">2021-12-06T07:15:33Z</dcterms:modified>
</cp:coreProperties>
</file>